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xlsm" ContentType="application/vnd.ms-excel.sheet.macroEnabled.12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2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3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4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5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6.xml" ContentType="application/vnd.openxmlformats-officedocument.theme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theme/theme7.xml" ContentType="application/vnd.openxmlformats-officedocument.theme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8.xml" ContentType="application/vnd.openxmlformats-officedocument.theme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ags/tag3.xml" ContentType="application/vnd.openxmlformats-officedocument.presentationml.tags+xml"/>
  <Override PartName="/ppt/embeddings/oleObject3.bin" ContentType="application/vnd.openxmlformats-officedocument.oleObject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20.xml" ContentType="application/vnd.openxmlformats-officedocument.presentationml.tags+xml"/>
  <Override PartName="/ppt/notesSlides/notesSlide16.xml" ContentType="application/vnd.openxmlformats-officedocument.presentationml.notesSlide+xml"/>
  <Override PartName="/ppt/embeddings/oleObject4.bin" ContentType="application/vnd.openxmlformats-officedocument.oleObject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86" r:id="rId2"/>
    <p:sldMasterId id="2147483746" r:id="rId3"/>
    <p:sldMasterId id="2147483776" r:id="rId4"/>
    <p:sldMasterId id="2147483809" r:id="rId5"/>
    <p:sldMasterId id="2147483841" r:id="rId6"/>
    <p:sldMasterId id="2147483873" r:id="rId7"/>
    <p:sldMasterId id="2147483908" r:id="rId8"/>
    <p:sldMasterId id="2147483943" r:id="rId9"/>
    <p:sldMasterId id="2147483950" r:id="rId10"/>
  </p:sldMasterIdLst>
  <p:notesMasterIdLst>
    <p:notesMasterId r:id="rId39"/>
  </p:notesMasterIdLst>
  <p:sldIdLst>
    <p:sldId id="267" r:id="rId11"/>
    <p:sldId id="406" r:id="rId12"/>
    <p:sldId id="407" r:id="rId13"/>
    <p:sldId id="379" r:id="rId14"/>
    <p:sldId id="386" r:id="rId15"/>
    <p:sldId id="378" r:id="rId16"/>
    <p:sldId id="380" r:id="rId17"/>
    <p:sldId id="385" r:id="rId18"/>
    <p:sldId id="377" r:id="rId19"/>
    <p:sldId id="381" r:id="rId20"/>
    <p:sldId id="364" r:id="rId21"/>
    <p:sldId id="367" r:id="rId22"/>
    <p:sldId id="358" r:id="rId23"/>
    <p:sldId id="383" r:id="rId24"/>
    <p:sldId id="409" r:id="rId25"/>
    <p:sldId id="389" r:id="rId26"/>
    <p:sldId id="404" r:id="rId27"/>
    <p:sldId id="408" r:id="rId28"/>
    <p:sldId id="370" r:id="rId29"/>
    <p:sldId id="391" r:id="rId30"/>
    <p:sldId id="392" r:id="rId31"/>
    <p:sldId id="395" r:id="rId32"/>
    <p:sldId id="393" r:id="rId33"/>
    <p:sldId id="372" r:id="rId34"/>
    <p:sldId id="398" r:id="rId35"/>
    <p:sldId id="399" r:id="rId36"/>
    <p:sldId id="401" r:id="rId37"/>
    <p:sldId id="405" r:id="rId38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91F05A"/>
    <a:srgbClr val="FFD985"/>
    <a:srgbClr val="FFBD52"/>
    <a:srgbClr val="55A7AE"/>
    <a:srgbClr val="2965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15" autoAdjust="0"/>
    <p:restoredTop sz="99419" autoAdjust="0"/>
  </p:normalViewPr>
  <p:slideViewPr>
    <p:cSldViewPr snapToGrid="0" snapToObjects="1">
      <p:cViewPr>
        <p:scale>
          <a:sx n="50" d="100"/>
          <a:sy n="50" d="100"/>
        </p:scale>
        <p:origin x="-3344" y="-1616"/>
      </p:cViewPr>
      <p:guideLst>
        <p:guide orient="horz" pos="1620"/>
        <p:guide pos="2880"/>
      </p:guideLst>
    </p:cSldViewPr>
  </p:slideViewPr>
  <p:notesTextViewPr>
    <p:cViewPr>
      <p:scale>
        <a:sx n="185" d="100"/>
        <a:sy n="185" d="100"/>
      </p:scale>
      <p:origin x="0" y="0"/>
    </p:cViewPr>
  </p:notesTextViewPr>
  <p:notesViewPr>
    <p:cSldViewPr snapToGrid="0" snapToObjects="1">
      <p:cViewPr varScale="1">
        <p:scale>
          <a:sx n="83" d="100"/>
          <a:sy n="83" d="100"/>
        </p:scale>
        <p:origin x="-3904" y="-10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0.xml"/><Relationship Id="rId21" Type="http://schemas.openxmlformats.org/officeDocument/2006/relationships/slide" Target="slides/slide11.xml"/><Relationship Id="rId22" Type="http://schemas.openxmlformats.org/officeDocument/2006/relationships/slide" Target="slides/slide12.xml"/><Relationship Id="rId23" Type="http://schemas.openxmlformats.org/officeDocument/2006/relationships/slide" Target="slides/slide13.xml"/><Relationship Id="rId24" Type="http://schemas.openxmlformats.org/officeDocument/2006/relationships/slide" Target="slides/slide14.xml"/><Relationship Id="rId25" Type="http://schemas.openxmlformats.org/officeDocument/2006/relationships/slide" Target="slides/slide15.xml"/><Relationship Id="rId26" Type="http://schemas.openxmlformats.org/officeDocument/2006/relationships/slide" Target="slides/slide16.xml"/><Relationship Id="rId27" Type="http://schemas.openxmlformats.org/officeDocument/2006/relationships/slide" Target="slides/slide17.xml"/><Relationship Id="rId28" Type="http://schemas.openxmlformats.org/officeDocument/2006/relationships/slide" Target="slides/slide18.xml"/><Relationship Id="rId29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slide" Target="slides/slide20.xml"/><Relationship Id="rId31" Type="http://schemas.openxmlformats.org/officeDocument/2006/relationships/slide" Target="slides/slide21.xml"/><Relationship Id="rId32" Type="http://schemas.openxmlformats.org/officeDocument/2006/relationships/slide" Target="slides/slide22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slide" Target="slides/slide23.xml"/><Relationship Id="rId34" Type="http://schemas.openxmlformats.org/officeDocument/2006/relationships/slide" Target="slides/slide24.xml"/><Relationship Id="rId35" Type="http://schemas.openxmlformats.org/officeDocument/2006/relationships/slide" Target="slides/slide25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1" Type="http://schemas.openxmlformats.org/officeDocument/2006/relationships/slide" Target="slides/slide1.xml"/><Relationship Id="rId12" Type="http://schemas.openxmlformats.org/officeDocument/2006/relationships/slide" Target="slides/slide2.xml"/><Relationship Id="rId13" Type="http://schemas.openxmlformats.org/officeDocument/2006/relationships/slide" Target="slides/slide3.xml"/><Relationship Id="rId14" Type="http://schemas.openxmlformats.org/officeDocument/2006/relationships/slide" Target="slides/slide4.xml"/><Relationship Id="rId15" Type="http://schemas.openxmlformats.org/officeDocument/2006/relationships/slide" Target="slides/slide5.xml"/><Relationship Id="rId16" Type="http://schemas.openxmlformats.org/officeDocument/2006/relationships/slide" Target="slides/slide6.xml"/><Relationship Id="rId17" Type="http://schemas.openxmlformats.org/officeDocument/2006/relationships/slide" Target="slides/slide7.xml"/><Relationship Id="rId18" Type="http://schemas.openxmlformats.org/officeDocument/2006/relationships/slide" Target="slides/slide8.xml"/><Relationship Id="rId19" Type="http://schemas.openxmlformats.org/officeDocument/2006/relationships/slide" Target="slides/slide9.xml"/><Relationship Id="rId37" Type="http://schemas.openxmlformats.org/officeDocument/2006/relationships/slide" Target="slides/slide27.xml"/><Relationship Id="rId38" Type="http://schemas.openxmlformats.org/officeDocument/2006/relationships/slide" Target="slides/slide28.xml"/><Relationship Id="rId39" Type="http://schemas.openxmlformats.org/officeDocument/2006/relationships/notesMaster" Target="notesMasters/notesMaster1.xml"/><Relationship Id="rId40" Type="http://schemas.openxmlformats.org/officeDocument/2006/relationships/printerSettings" Target="printerSettings/printerSettings1.bin"/><Relationship Id="rId41" Type="http://schemas.openxmlformats.org/officeDocument/2006/relationships/presProps" Target="presProps.xml"/><Relationship Id="rId42" Type="http://schemas.openxmlformats.org/officeDocument/2006/relationships/viewProps" Target="viewProps.xml"/><Relationship Id="rId43" Type="http://schemas.openxmlformats.org/officeDocument/2006/relationships/theme" Target="theme/theme1.xml"/><Relationship Id="rId4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Macro-Enabled_Worksheet1.xlsm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Macro-Enabled_Worksheet2.xlsm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Macro-Enabled_Worksheet3.xlsm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Macro-Enabled_Worksheet4.xlsm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Macro-Enabled_Worksheet5.xlsm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203703703703704"/>
          <c:y val="0.0240963855421687"/>
          <c:w val="0.972222222222222"/>
          <c:h val="0.94779116465863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invertIfNegative val="0"/>
          <c:cat>
            <c:numRef>
              <c:f>Sheet1!$B$1:$L$1</c:f>
              <c:numCache>
                <c:formatCode>General</c:formatCode>
                <c:ptCount val="11"/>
              </c:numCache>
            </c:numRef>
          </c:cat>
          <c:val>
            <c:numRef>
              <c:f>Sheet1!$B$2:$L$2</c:f>
              <c:numCache>
                <c:formatCode>General</c:formatCode>
                <c:ptCount val="11"/>
                <c:pt idx="0">
                  <c:v>19.44444444444666</c:v>
                </c:pt>
                <c:pt idx="1">
                  <c:v>14.28571428571591</c:v>
                </c:pt>
                <c:pt idx="2">
                  <c:v>50.00000000000568</c:v>
                </c:pt>
                <c:pt idx="3">
                  <c:v>100.0000000000114</c:v>
                </c:pt>
                <c:pt idx="4">
                  <c:v>3.448275862069357</c:v>
                </c:pt>
                <c:pt idx="5">
                  <c:v>25.80645161290616</c:v>
                </c:pt>
                <c:pt idx="6" formatCode="&quot;&quot;#,##0&quot;&quot;;&quot;&quot;\-&quot;&quot;#,##0&quot;&quot;">
                  <c:v>76.92307692308565</c:v>
                </c:pt>
                <c:pt idx="7">
                  <c:v>78.57142857143751</c:v>
                </c:pt>
                <c:pt idx="8">
                  <c:v>0.0</c:v>
                </c:pt>
                <c:pt idx="9">
                  <c:v>8.333333333334278</c:v>
                </c:pt>
                <c:pt idx="10">
                  <c:v>31.91489361702491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invertIfNegative val="0"/>
          <c:dPt>
            <c:idx val="3"/>
            <c:invertIfNegative val="0"/>
            <c:bubble3D val="0"/>
          </c:dPt>
          <c:cat>
            <c:numRef>
              <c:f>Sheet1!$B$1:$L$1</c:f>
              <c:numCache>
                <c:formatCode>General</c:formatCode>
                <c:ptCount val="11"/>
              </c:numCache>
            </c:numRef>
          </c:cat>
          <c:val>
            <c:numRef>
              <c:f>Sheet1!$B$3:$L$3</c:f>
              <c:numCache>
                <c:formatCode>""#,##0"";""\-""#,##0""</c:formatCode>
                <c:ptCount val="11"/>
                <c:pt idx="0" formatCode="General">
                  <c:v>25.00000000000284</c:v>
                </c:pt>
                <c:pt idx="1">
                  <c:v>57.14285714286363</c:v>
                </c:pt>
                <c:pt idx="2" formatCode="General">
                  <c:v>16.66666666666856</c:v>
                </c:pt>
                <c:pt idx="3" formatCode="General">
                  <c:v>0.0</c:v>
                </c:pt>
                <c:pt idx="4" formatCode="General">
                  <c:v>3.448275862069357</c:v>
                </c:pt>
                <c:pt idx="5" formatCode="General">
                  <c:v>9.67741935483981</c:v>
                </c:pt>
                <c:pt idx="6">
                  <c:v>7.692307692308573</c:v>
                </c:pt>
                <c:pt idx="7" formatCode="General">
                  <c:v>7.142857142857936</c:v>
                </c:pt>
                <c:pt idx="8" formatCode="General">
                  <c:v>40.00000000000455</c:v>
                </c:pt>
                <c:pt idx="9" formatCode="General">
                  <c:v>50.00000000000568</c:v>
                </c:pt>
                <c:pt idx="10" formatCode="General">
                  <c:v>19.14893617021495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invertIfNegative val="0"/>
          <c:cat>
            <c:numRef>
              <c:f>Sheet1!$B$1:$L$1</c:f>
              <c:numCache>
                <c:formatCode>General</c:formatCode>
                <c:ptCount val="11"/>
              </c:numCache>
            </c:numRef>
          </c:cat>
          <c:val>
            <c:numRef>
              <c:f>Sheet1!$B$4:$L$4</c:f>
              <c:numCache>
                <c:formatCode>""#,##0"";""\-""#,##0""</c:formatCode>
                <c:ptCount val="11"/>
                <c:pt idx="0" formatCode="General">
                  <c:v>22.22222222222472</c:v>
                </c:pt>
                <c:pt idx="1">
                  <c:v>14.2857142857159</c:v>
                </c:pt>
                <c:pt idx="2" formatCode="General">
                  <c:v>16.66666666666856</c:v>
                </c:pt>
                <c:pt idx="3" formatCode="General">
                  <c:v>0.0</c:v>
                </c:pt>
                <c:pt idx="4" formatCode="General">
                  <c:v>86.20689655173391</c:v>
                </c:pt>
                <c:pt idx="5" formatCode="General">
                  <c:v>29.03225806451944</c:v>
                </c:pt>
                <c:pt idx="6">
                  <c:v>15.38461538461712</c:v>
                </c:pt>
                <c:pt idx="7" formatCode="General">
                  <c:v>10.71428571428693</c:v>
                </c:pt>
                <c:pt idx="8" formatCode="General">
                  <c:v>40.00000000000455</c:v>
                </c:pt>
                <c:pt idx="9" formatCode="General">
                  <c:v>25.00000000000284</c:v>
                </c:pt>
                <c:pt idx="10" formatCode="General">
                  <c:v>30.85106382979075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invertIfNegative val="0"/>
          <c:dPt>
            <c:idx val="1"/>
            <c:invertIfNegative val="0"/>
            <c:bubble3D val="0"/>
          </c:dPt>
          <c:dPt>
            <c:idx val="3"/>
            <c:invertIfNegative val="0"/>
            <c:bubble3D val="0"/>
          </c:dPt>
          <c:cat>
            <c:numRef>
              <c:f>Sheet1!$B$1:$L$1</c:f>
              <c:numCache>
                <c:formatCode>General</c:formatCode>
                <c:ptCount val="11"/>
              </c:numCache>
            </c:numRef>
          </c:cat>
          <c:val>
            <c:numRef>
              <c:f>Sheet1!$B$5:$L$5</c:f>
              <c:numCache>
                <c:formatCode>""#,##0"";""\-""#,##0""</c:formatCode>
                <c:ptCount val="11"/>
                <c:pt idx="0" formatCode="General">
                  <c:v>33.33333333333712</c:v>
                </c:pt>
                <c:pt idx="1">
                  <c:v>14.2857142857159</c:v>
                </c:pt>
                <c:pt idx="2" formatCode="General">
                  <c:v>16.66666666666856</c:v>
                </c:pt>
                <c:pt idx="3" formatCode="General">
                  <c:v>0.0</c:v>
                </c:pt>
                <c:pt idx="4" formatCode="General">
                  <c:v>6.896551724138717</c:v>
                </c:pt>
                <c:pt idx="5" formatCode="General">
                  <c:v>35.48387096774594</c:v>
                </c:pt>
                <c:pt idx="6" formatCode="General">
                  <c:v>0.0</c:v>
                </c:pt>
                <c:pt idx="7" formatCode="General">
                  <c:v>3.571428571428976</c:v>
                </c:pt>
                <c:pt idx="8" formatCode="General">
                  <c:v>20.00000000000227</c:v>
                </c:pt>
                <c:pt idx="9" formatCode="General">
                  <c:v>16.66666666666856</c:v>
                </c:pt>
                <c:pt idx="10" formatCode="General">
                  <c:v>18.0851063829807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-2132854200"/>
        <c:axId val="-2132891080"/>
      </c:barChart>
      <c:catAx>
        <c:axId val="-2132854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crossAx val="-2132891080"/>
        <c:crossesAt val="0.0"/>
        <c:auto val="1"/>
        <c:lblAlgn val="ctr"/>
        <c:lblOffset val="100"/>
        <c:tickLblSkip val="1"/>
        <c:tickMarkSkip val="1"/>
        <c:noMultiLvlLbl val="0"/>
      </c:catAx>
      <c:valAx>
        <c:axId val="-2132891080"/>
        <c:scaling>
          <c:orientation val="minMax"/>
          <c:max val="1.0"/>
          <c:min val="0.0"/>
        </c:scaling>
        <c:delete val="0"/>
        <c:axPos val="l"/>
        <c:numFmt formatCode="0%" sourceLinked="0"/>
        <c:majorTickMark val="out"/>
        <c:minorTickMark val="none"/>
        <c:tickLblPos val="none"/>
        <c:crossAx val="-2132854200"/>
        <c:crosses val="autoZero"/>
        <c:crossBetween val="between"/>
        <c:majorUnit val="0.2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33457249070632"/>
          <c:y val="0.0923076923076923"/>
          <c:w val="0.955390334572491"/>
          <c:h val="0.81538461538461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CCFF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cat>
            <c:numRef>
              <c:f>Sheet1!$B$1:$Q$1</c:f>
              <c:numCache>
                <c:formatCode>General</c:formatCode>
                <c:ptCount val="16"/>
              </c:numCache>
            </c:numRef>
          </c:cat>
          <c:val>
            <c:numRef>
              <c:f>Sheet1!$B$2:$Q$2</c:f>
              <c:numCache>
                <c:formatCode>General</c:formatCode>
                <c:ptCount val="16"/>
                <c:pt idx="0">
                  <c:v>75.42372881356752</c:v>
                </c:pt>
                <c:pt idx="1">
                  <c:v>27.96610169491843</c:v>
                </c:pt>
                <c:pt idx="2">
                  <c:v>26.27118644068096</c:v>
                </c:pt>
                <c:pt idx="3">
                  <c:v>25.42372881356208</c:v>
                </c:pt>
                <c:pt idx="4" formatCode="&quot;&quot;#,##0&quot;&quot;;&quot;&quot;\-&quot;&quot;#,##0&quot;&quot;">
                  <c:v>11.86440677966237</c:v>
                </c:pt>
                <c:pt idx="5" formatCode="&quot;&quot;#,##0&quot;&quot;;&quot;&quot;\-&quot;&quot;#,##0&quot;&quot;">
                  <c:v>10.1694915254249</c:v>
                </c:pt>
                <c:pt idx="6" formatCode="&quot;&quot;#,##0&quot;&quot;;&quot;&quot;\-&quot;&quot;#,##0&quot;&quot;">
                  <c:v>3.389830508474962</c:v>
                </c:pt>
                <c:pt idx="7">
                  <c:v>2.542372881356222</c:v>
                </c:pt>
                <c:pt idx="8">
                  <c:v>1.694915254237481</c:v>
                </c:pt>
                <c:pt idx="9">
                  <c:v>1.694915254237481</c:v>
                </c:pt>
                <c:pt idx="10">
                  <c:v>1.694915254237481</c:v>
                </c:pt>
                <c:pt idx="11">
                  <c:v>0.84745762711874</c:v>
                </c:pt>
                <c:pt idx="12">
                  <c:v>0.84745762711874</c:v>
                </c:pt>
                <c:pt idx="13">
                  <c:v>0.84745762711874</c:v>
                </c:pt>
                <c:pt idx="14">
                  <c:v>0.84745762711874</c:v>
                </c:pt>
                <c:pt idx="15">
                  <c:v>0.8474576271187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-2045838696"/>
        <c:axId val="-2045835368"/>
      </c:barChart>
      <c:catAx>
        <c:axId val="-2045838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2700">
            <a:solidFill>
              <a:srgbClr val="808080"/>
            </a:solidFill>
            <a:prstDash val="solid"/>
          </a:ln>
        </c:spPr>
        <c:crossAx val="-2045835368"/>
        <c:crossesAt val="0.0"/>
        <c:auto val="1"/>
        <c:lblAlgn val="ctr"/>
        <c:lblOffset val="100"/>
        <c:tickLblSkip val="1"/>
        <c:tickMarkSkip val="1"/>
        <c:noMultiLvlLbl val="0"/>
      </c:catAx>
      <c:valAx>
        <c:axId val="-2045835368"/>
        <c:scaling>
          <c:orientation val="minMax"/>
          <c:max val="100.0"/>
          <c:min val="0.0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808080"/>
            </a:solidFill>
            <a:prstDash val="solid"/>
          </a:ln>
        </c:spPr>
        <c:crossAx val="-2045838696"/>
        <c:crosses val="autoZero"/>
        <c:crossBetween val="between"/>
        <c:majorUnit val="50.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3584229390681"/>
          <c:y val="0.0895522388059701"/>
          <c:w val="0.953405017921147"/>
          <c:h val="0.8208955223880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CCFF"/>
            </a:solidFill>
            <a:ln w="12591">
              <a:solidFill>
                <a:srgbClr val="FFFF99"/>
              </a:solidFill>
              <a:prstDash val="solid"/>
            </a:ln>
          </c:spPr>
          <c:invertIfNegative val="0"/>
          <c:cat>
            <c:numRef>
              <c:f>Sheet1!$B$1:$U$1</c:f>
              <c:numCache>
                <c:formatCode>General</c:formatCode>
                <c:ptCount val="20"/>
              </c:numCache>
            </c:numRef>
          </c:cat>
          <c:val>
            <c:numRef>
              <c:f>Sheet1!$B$2:$U$2</c:f>
              <c:numCache>
                <c:formatCode>General</c:formatCode>
                <c:ptCount val="20"/>
                <c:pt idx="0">
                  <c:v>77.02702702703578</c:v>
                </c:pt>
                <c:pt idx="1">
                  <c:v>70.27027027027826</c:v>
                </c:pt>
                <c:pt idx="2">
                  <c:v>58.1081081081147</c:v>
                </c:pt>
                <c:pt idx="3">
                  <c:v>47.29729729730253</c:v>
                </c:pt>
                <c:pt idx="4">
                  <c:v>27.0270270270301</c:v>
                </c:pt>
                <c:pt idx="5" formatCode="&quot;&quot;#,##0&quot;&quot;;&quot;&quot;\-&quot;&quot;#,##0&quot;&quot;">
                  <c:v>9.45945945946054</c:v>
                </c:pt>
                <c:pt idx="6" formatCode="&quot;&quot;#,##0&quot;&quot;;&quot;&quot;\-&quot;&quot;#,##0&quot;&quot;">
                  <c:v>6.756756756757525</c:v>
                </c:pt>
                <c:pt idx="7" formatCode="&quot;&quot;#,##0&quot;&quot;;&quot;&quot;\-&quot;&quot;#,##0&quot;&quot;">
                  <c:v>6.756756756757525</c:v>
                </c:pt>
                <c:pt idx="8" formatCode="&quot;&quot;#,##0&quot;&quot;;&quot;&quot;\-&quot;&quot;#,##0&quot;&quot;">
                  <c:v>5.40540540540602</c:v>
                </c:pt>
                <c:pt idx="9" formatCode="&quot;&quot;#,##0&quot;&quot;;&quot;&quot;\-&quot;&quot;#,##0&quot;&quot;">
                  <c:v>5.40540540540602</c:v>
                </c:pt>
                <c:pt idx="10" formatCode="&quot;&quot;#,##0&quot;&quot;;&quot;&quot;\-&quot;&quot;#,##0&quot;&quot;">
                  <c:v>4.054054054054514</c:v>
                </c:pt>
                <c:pt idx="11" formatCode="&quot;&quot;#,##0&quot;&quot;;&quot;&quot;\-&quot;&quot;#,##0&quot;&quot;">
                  <c:v>2.70270270270301</c:v>
                </c:pt>
                <c:pt idx="12">
                  <c:v>2.70270270270301</c:v>
                </c:pt>
                <c:pt idx="13">
                  <c:v>1.351351351351505</c:v>
                </c:pt>
                <c:pt idx="14">
                  <c:v>1.351351351351505</c:v>
                </c:pt>
                <c:pt idx="15">
                  <c:v>1.351351351351505</c:v>
                </c:pt>
                <c:pt idx="16">
                  <c:v>1.351351351351505</c:v>
                </c:pt>
                <c:pt idx="17">
                  <c:v>1.351351351351505</c:v>
                </c:pt>
                <c:pt idx="18">
                  <c:v>1.351351351351505</c:v>
                </c:pt>
                <c:pt idx="19">
                  <c:v>1.3513513513515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-2046119496"/>
        <c:axId val="-2046123528"/>
      </c:barChart>
      <c:catAx>
        <c:axId val="-2046119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2591">
            <a:solidFill>
              <a:srgbClr val="FFFF99"/>
            </a:solidFill>
            <a:prstDash val="solid"/>
          </a:ln>
        </c:spPr>
        <c:crossAx val="-2046123528"/>
        <c:crossesAt val="0.0"/>
        <c:auto val="1"/>
        <c:lblAlgn val="ctr"/>
        <c:lblOffset val="100"/>
        <c:tickLblSkip val="1"/>
        <c:tickMarkSkip val="1"/>
        <c:noMultiLvlLbl val="0"/>
      </c:catAx>
      <c:valAx>
        <c:axId val="-2046123528"/>
        <c:scaling>
          <c:orientation val="minMax"/>
          <c:max val="100.0"/>
          <c:min val="0.0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591">
            <a:solidFill>
              <a:srgbClr val="FFFF99"/>
            </a:solidFill>
            <a:prstDash val="solid"/>
          </a:ln>
        </c:spPr>
        <c:crossAx val="-2046119496"/>
        <c:crosses val="autoZero"/>
        <c:crossBetween val="between"/>
        <c:majorUnit val="50.0"/>
      </c:valAx>
      <c:spPr>
        <a:noFill/>
        <a:ln w="2518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0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323741007194245"/>
          <c:y val="0.0895522388059701"/>
          <c:w val="0.956834532374101"/>
          <c:h val="0.8208955223880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CCFF"/>
            </a:solidFill>
            <a:ln w="12591">
              <a:solidFill>
                <a:srgbClr val="FFFF99"/>
              </a:solidFill>
              <a:prstDash val="solid"/>
            </a:ln>
          </c:spPr>
          <c:invertIfNegative val="0"/>
          <c:cat>
            <c:numRef>
              <c:f>Sheet1!$B$1:$S$1</c:f>
              <c:numCache>
                <c:formatCode>General</c:formatCode>
                <c:ptCount val="18"/>
              </c:numCache>
            </c:numRef>
          </c:cat>
          <c:val>
            <c:numRef>
              <c:f>Sheet1!$B$2:$S$2</c:f>
              <c:numCache>
                <c:formatCode>General</c:formatCode>
                <c:ptCount val="18"/>
                <c:pt idx="0">
                  <c:v>53.48837209302933</c:v>
                </c:pt>
                <c:pt idx="1">
                  <c:v>48.83720930233113</c:v>
                </c:pt>
                <c:pt idx="2">
                  <c:v>41.86046511628383</c:v>
                </c:pt>
                <c:pt idx="3">
                  <c:v>39.53488372093473</c:v>
                </c:pt>
                <c:pt idx="4" formatCode="&quot;&quot;#,##0&quot;&quot;;&quot;&quot;\-&quot;&quot;#,##0&quot;&quot;">
                  <c:v>18.60465116279281</c:v>
                </c:pt>
                <c:pt idx="5" formatCode="&quot;&quot;#,##0&quot;&quot;;&quot;&quot;\-&quot;&quot;#,##0&quot;&quot;">
                  <c:v>4.651162790698203</c:v>
                </c:pt>
                <c:pt idx="6" formatCode="&quot;&quot;#,##0&quot;&quot;;&quot;&quot;\-&quot;&quot;#,##0&quot;&quot;">
                  <c:v>4.651162790698203</c:v>
                </c:pt>
                <c:pt idx="7">
                  <c:v>4.651162790698203</c:v>
                </c:pt>
                <c:pt idx="8">
                  <c:v>2.325581395349102</c:v>
                </c:pt>
                <c:pt idx="9">
                  <c:v>2.325581395349102</c:v>
                </c:pt>
                <c:pt idx="10">
                  <c:v>2.325581395349102</c:v>
                </c:pt>
                <c:pt idx="11">
                  <c:v>2.325581395349102</c:v>
                </c:pt>
                <c:pt idx="12">
                  <c:v>2.325581395349102</c:v>
                </c:pt>
                <c:pt idx="13">
                  <c:v>2.325581395349102</c:v>
                </c:pt>
                <c:pt idx="14">
                  <c:v>2.325581395349102</c:v>
                </c:pt>
                <c:pt idx="15">
                  <c:v>2.325581395349102</c:v>
                </c:pt>
                <c:pt idx="16">
                  <c:v>2.325581395349102</c:v>
                </c:pt>
                <c:pt idx="17">
                  <c:v>2.3255813953491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-2046452760"/>
        <c:axId val="-2046460696"/>
      </c:barChart>
      <c:catAx>
        <c:axId val="-2046452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2591">
            <a:solidFill>
              <a:srgbClr val="FFFF99"/>
            </a:solidFill>
            <a:prstDash val="solid"/>
          </a:ln>
        </c:spPr>
        <c:crossAx val="-2046460696"/>
        <c:crossesAt val="0.0"/>
        <c:auto val="1"/>
        <c:lblAlgn val="ctr"/>
        <c:lblOffset val="100"/>
        <c:tickLblSkip val="1"/>
        <c:tickMarkSkip val="1"/>
        <c:noMultiLvlLbl val="0"/>
      </c:catAx>
      <c:valAx>
        <c:axId val="-2046460696"/>
        <c:scaling>
          <c:orientation val="minMax"/>
          <c:max val="100.0"/>
          <c:min val="0.0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591">
            <a:solidFill>
              <a:srgbClr val="FFFF99"/>
            </a:solidFill>
            <a:prstDash val="solid"/>
          </a:ln>
        </c:spPr>
        <c:crossAx val="-2046452760"/>
        <c:crosses val="autoZero"/>
        <c:crossBetween val="between"/>
        <c:majorUnit val="50.0"/>
      </c:valAx>
      <c:spPr>
        <a:noFill/>
        <a:ln w="2518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0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3584229390681"/>
          <c:y val="0.0895522388059701"/>
          <c:w val="0.953405017921147"/>
          <c:h val="0.8208955223880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CCFF"/>
            </a:solidFill>
            <a:ln w="12591">
              <a:solidFill>
                <a:srgbClr val="FFFF99"/>
              </a:solidFill>
              <a:prstDash val="solid"/>
            </a:ln>
          </c:spPr>
          <c:invertIfNegative val="0"/>
          <c:cat>
            <c:numRef>
              <c:f>Sheet1!$B$1:$Q$1</c:f>
              <c:numCache>
                <c:formatCode>General</c:formatCode>
                <c:ptCount val="16"/>
              </c:numCache>
            </c:numRef>
          </c:cat>
          <c:val>
            <c:numRef>
              <c:f>Sheet1!$B$2:$Q$2</c:f>
              <c:numCache>
                <c:formatCode>General</c:formatCode>
                <c:ptCount val="16"/>
                <c:pt idx="0">
                  <c:v>72.41379310345629</c:v>
                </c:pt>
                <c:pt idx="1">
                  <c:v>55.17241379310971</c:v>
                </c:pt>
                <c:pt idx="2">
                  <c:v>48.275862068971</c:v>
                </c:pt>
                <c:pt idx="3">
                  <c:v>37.93103448276278</c:v>
                </c:pt>
                <c:pt idx="4">
                  <c:v>34.48275862069357</c:v>
                </c:pt>
                <c:pt idx="5" formatCode="&quot;&quot;#,##0&quot;&quot;;&quot;&quot;\-&quot;&quot;#,##0&quot;&quot;">
                  <c:v>17.24137931034679</c:v>
                </c:pt>
                <c:pt idx="6" formatCode="&quot;&quot;#,##0&quot;&quot;;&quot;&quot;\-&quot;&quot;#,##0&quot;&quot;">
                  <c:v>13.79310344827743</c:v>
                </c:pt>
                <c:pt idx="7" formatCode="&quot;&quot;#,##0&quot;&quot;;&quot;&quot;\-&quot;&quot;#,##0&quot;&quot;">
                  <c:v>13.79310344827743</c:v>
                </c:pt>
                <c:pt idx="8" formatCode="&quot;&quot;#,##0&quot;&quot;;&quot;&quot;\-&quot;&quot;#,##0&quot;&quot;">
                  <c:v>6.896551724138715</c:v>
                </c:pt>
                <c:pt idx="9" formatCode="&quot;&quot;#,##0&quot;&quot;;&quot;&quot;\-&quot;&quot;#,##0&quot;&quot;">
                  <c:v>6.896551724138715</c:v>
                </c:pt>
                <c:pt idx="10">
                  <c:v>3.448275862069357</c:v>
                </c:pt>
                <c:pt idx="11">
                  <c:v>3.448275862069357</c:v>
                </c:pt>
                <c:pt idx="12">
                  <c:v>3.448275862069357</c:v>
                </c:pt>
                <c:pt idx="13">
                  <c:v>3.448275862069357</c:v>
                </c:pt>
                <c:pt idx="14">
                  <c:v>3.448275862069357</c:v>
                </c:pt>
                <c:pt idx="15">
                  <c:v>3.44827586206935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-2046795432"/>
        <c:axId val="-2046803640"/>
      </c:barChart>
      <c:catAx>
        <c:axId val="-2046795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2591">
            <a:solidFill>
              <a:srgbClr val="FFFF99"/>
            </a:solidFill>
            <a:prstDash val="solid"/>
          </a:ln>
        </c:spPr>
        <c:crossAx val="-2046803640"/>
        <c:crossesAt val="0.0"/>
        <c:auto val="1"/>
        <c:lblAlgn val="ctr"/>
        <c:lblOffset val="100"/>
        <c:tickLblSkip val="1"/>
        <c:tickMarkSkip val="1"/>
        <c:noMultiLvlLbl val="0"/>
      </c:catAx>
      <c:valAx>
        <c:axId val="-2046803640"/>
        <c:scaling>
          <c:orientation val="minMax"/>
          <c:max val="100.0"/>
          <c:min val="0.0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591">
            <a:solidFill>
              <a:srgbClr val="FFFF99"/>
            </a:solidFill>
            <a:prstDash val="solid"/>
          </a:ln>
        </c:spPr>
        <c:crossAx val="-2046795432"/>
        <c:crosses val="autoZero"/>
        <c:crossBetween val="between"/>
        <c:majorUnit val="50.0"/>
      </c:valAx>
      <c:spPr>
        <a:noFill/>
        <a:ln w="2518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0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FC6C537-B398-5249-B661-BF4321DCAD5E}" type="doc">
      <dgm:prSet loTypeId="urn:microsoft.com/office/officeart/2005/8/layout/radial5" loCatId="" qsTypeId="urn:microsoft.com/office/officeart/2005/8/quickstyle/simple4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2D7497B2-5314-C340-888B-E08C547C76C2}">
      <dgm:prSet phldrT="[Text]"/>
      <dgm:spPr/>
      <dgm:t>
        <a:bodyPr/>
        <a:lstStyle/>
        <a:p>
          <a:r>
            <a:rPr lang="en-US" dirty="0" smtClean="0"/>
            <a:t>Engineering Operations</a:t>
          </a:r>
          <a:endParaRPr lang="en-US" dirty="0"/>
        </a:p>
      </dgm:t>
    </dgm:pt>
    <dgm:pt modelId="{9BEDCE45-1E59-0743-AA6E-87E8C487F7E9}" type="parTrans" cxnId="{E4AB56E0-D8DF-1342-B7CA-8B01834F929B}">
      <dgm:prSet/>
      <dgm:spPr/>
      <dgm:t>
        <a:bodyPr/>
        <a:lstStyle/>
        <a:p>
          <a:endParaRPr lang="en-US"/>
        </a:p>
      </dgm:t>
    </dgm:pt>
    <dgm:pt modelId="{FA3A3F0C-1BF5-E342-9032-DCC3AE74247F}" type="sibTrans" cxnId="{E4AB56E0-D8DF-1342-B7CA-8B01834F929B}">
      <dgm:prSet/>
      <dgm:spPr/>
      <dgm:t>
        <a:bodyPr/>
        <a:lstStyle/>
        <a:p>
          <a:endParaRPr lang="en-US"/>
        </a:p>
      </dgm:t>
    </dgm:pt>
    <dgm:pt modelId="{0D530C91-5DEF-A84C-8B52-6ABF05AB5289}">
      <dgm:prSet phldrT="[Text]"/>
      <dgm:spPr/>
      <dgm:t>
        <a:bodyPr/>
        <a:lstStyle/>
        <a:p>
          <a:r>
            <a:rPr lang="en-US" dirty="0" smtClean="0"/>
            <a:t>Corporate Quality</a:t>
          </a:r>
          <a:endParaRPr lang="en-US" dirty="0"/>
        </a:p>
      </dgm:t>
    </dgm:pt>
    <dgm:pt modelId="{8980ACA2-3DCB-814E-B819-4279529A35C5}" type="parTrans" cxnId="{79BCED6B-3B8D-1947-8A3D-99B6FD798489}">
      <dgm:prSet/>
      <dgm:spPr/>
      <dgm:t>
        <a:bodyPr/>
        <a:lstStyle/>
        <a:p>
          <a:endParaRPr lang="en-US"/>
        </a:p>
      </dgm:t>
    </dgm:pt>
    <dgm:pt modelId="{F70D67A6-0A00-DA46-AF7E-D54338DA9310}" type="sibTrans" cxnId="{79BCED6B-3B8D-1947-8A3D-99B6FD798489}">
      <dgm:prSet/>
      <dgm:spPr/>
      <dgm:t>
        <a:bodyPr/>
        <a:lstStyle/>
        <a:p>
          <a:endParaRPr lang="en-US"/>
        </a:p>
      </dgm:t>
    </dgm:pt>
    <dgm:pt modelId="{2DBADF78-39BD-F24D-A791-1875D4481938}">
      <dgm:prSet phldrT="[Text]"/>
      <dgm:spPr/>
      <dgm:t>
        <a:bodyPr/>
        <a:lstStyle/>
        <a:p>
          <a:r>
            <a:rPr lang="en-US" dirty="0" smtClean="0"/>
            <a:t>Learning Organization</a:t>
          </a:r>
          <a:endParaRPr lang="en-US" dirty="0"/>
        </a:p>
      </dgm:t>
    </dgm:pt>
    <dgm:pt modelId="{3CBC63D4-971A-2B4E-AB6D-3B1E4CAA59BD}" type="parTrans" cxnId="{919526DE-AE94-0E47-8E65-E2FC5CBA368D}">
      <dgm:prSet/>
      <dgm:spPr/>
      <dgm:t>
        <a:bodyPr/>
        <a:lstStyle/>
        <a:p>
          <a:endParaRPr lang="en-US"/>
        </a:p>
      </dgm:t>
    </dgm:pt>
    <dgm:pt modelId="{97C82726-6D36-6E4E-8012-85329E83B91C}" type="sibTrans" cxnId="{919526DE-AE94-0E47-8E65-E2FC5CBA368D}">
      <dgm:prSet/>
      <dgm:spPr/>
      <dgm:t>
        <a:bodyPr/>
        <a:lstStyle/>
        <a:p>
          <a:endParaRPr lang="en-US"/>
        </a:p>
      </dgm:t>
    </dgm:pt>
    <dgm:pt modelId="{CFE65633-B260-B541-B321-9A86E63B0803}">
      <dgm:prSet phldrT="[Text]"/>
      <dgm:spPr/>
      <dgm:t>
        <a:bodyPr/>
        <a:lstStyle/>
        <a:p>
          <a:r>
            <a:rPr lang="en-US" dirty="0" smtClean="0"/>
            <a:t>Development</a:t>
          </a:r>
          <a:endParaRPr lang="en-US" dirty="0"/>
        </a:p>
      </dgm:t>
    </dgm:pt>
    <dgm:pt modelId="{A1DE0054-4F3C-3A47-A852-4256CB2873A2}" type="parTrans" cxnId="{71E1DFC3-F4B3-AC41-9FFA-113D115BF438}">
      <dgm:prSet/>
      <dgm:spPr/>
      <dgm:t>
        <a:bodyPr/>
        <a:lstStyle/>
        <a:p>
          <a:endParaRPr lang="en-US"/>
        </a:p>
      </dgm:t>
    </dgm:pt>
    <dgm:pt modelId="{47604D01-9AAB-E448-ADF1-B89AC99A6FA6}" type="sibTrans" cxnId="{71E1DFC3-F4B3-AC41-9FFA-113D115BF438}">
      <dgm:prSet/>
      <dgm:spPr/>
      <dgm:t>
        <a:bodyPr/>
        <a:lstStyle/>
        <a:p>
          <a:endParaRPr lang="en-US"/>
        </a:p>
      </dgm:t>
    </dgm:pt>
    <dgm:pt modelId="{47734114-0F43-D14A-9658-DF70AF6F559A}">
      <dgm:prSet phldrT="[Text]"/>
      <dgm:spPr/>
      <dgm:t>
        <a:bodyPr/>
        <a:lstStyle/>
        <a:p>
          <a:r>
            <a:rPr lang="en-US" dirty="0" smtClean="0"/>
            <a:t>Cross Functional Partners</a:t>
          </a:r>
          <a:endParaRPr lang="en-US" dirty="0"/>
        </a:p>
      </dgm:t>
    </dgm:pt>
    <dgm:pt modelId="{72BA69D7-9855-4E42-A6F8-CDC560561DAD}" type="parTrans" cxnId="{38E9E52A-0A6D-1E4C-93B8-E26147007987}">
      <dgm:prSet/>
      <dgm:spPr/>
      <dgm:t>
        <a:bodyPr/>
        <a:lstStyle/>
        <a:p>
          <a:endParaRPr lang="en-US"/>
        </a:p>
      </dgm:t>
    </dgm:pt>
    <dgm:pt modelId="{33CEE063-26CB-2742-9B7F-FC6FD6E8F3BC}" type="sibTrans" cxnId="{38E9E52A-0A6D-1E4C-93B8-E26147007987}">
      <dgm:prSet/>
      <dgm:spPr/>
      <dgm:t>
        <a:bodyPr/>
        <a:lstStyle/>
        <a:p>
          <a:endParaRPr lang="en-US"/>
        </a:p>
      </dgm:t>
    </dgm:pt>
    <dgm:pt modelId="{EB3B6125-A314-2C40-A997-3B8A9257A225}" type="pres">
      <dgm:prSet presAssocID="{9FC6C537-B398-5249-B661-BF4321DCAD5E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5A78867-AD80-1644-9C3D-CFB66F7CE2C0}" type="pres">
      <dgm:prSet presAssocID="{2D7497B2-5314-C340-888B-E08C547C76C2}" presName="centerShape" presStyleLbl="node0" presStyleIdx="0" presStyleCnt="1"/>
      <dgm:spPr/>
      <dgm:t>
        <a:bodyPr/>
        <a:lstStyle/>
        <a:p>
          <a:endParaRPr lang="en-US"/>
        </a:p>
      </dgm:t>
    </dgm:pt>
    <dgm:pt modelId="{2BE31A5F-FEE3-BA40-876E-E55F95B43FC8}" type="pres">
      <dgm:prSet presAssocID="{8980ACA2-3DCB-814E-B819-4279529A35C5}" presName="parTrans" presStyleLbl="sibTrans2D1" presStyleIdx="0" presStyleCnt="4"/>
      <dgm:spPr/>
      <dgm:t>
        <a:bodyPr/>
        <a:lstStyle/>
        <a:p>
          <a:endParaRPr lang="en-US"/>
        </a:p>
      </dgm:t>
    </dgm:pt>
    <dgm:pt modelId="{C2DEC6EC-2BDC-6F47-BACC-268951FC3C20}" type="pres">
      <dgm:prSet presAssocID="{8980ACA2-3DCB-814E-B819-4279529A35C5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E96AA119-E25E-3644-B360-0D06AF3F4278}" type="pres">
      <dgm:prSet presAssocID="{0D530C91-5DEF-A84C-8B52-6ABF05AB5289}" presName="node" presStyleLbl="node1" presStyleIdx="0" presStyleCnt="4" custScaleX="66480" custScaleY="6204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5A0169E-62C7-1644-B176-47A11A033797}" type="pres">
      <dgm:prSet presAssocID="{A1DE0054-4F3C-3A47-A852-4256CB2873A2}" presName="parTrans" presStyleLbl="sibTrans2D1" presStyleIdx="1" presStyleCnt="4"/>
      <dgm:spPr/>
      <dgm:t>
        <a:bodyPr/>
        <a:lstStyle/>
        <a:p>
          <a:endParaRPr lang="en-US"/>
        </a:p>
      </dgm:t>
    </dgm:pt>
    <dgm:pt modelId="{29944C91-EEBD-7B4C-9744-179FE69DCE0E}" type="pres">
      <dgm:prSet presAssocID="{A1DE0054-4F3C-3A47-A852-4256CB2873A2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40D08087-EF25-6C44-890E-366CAD79061F}" type="pres">
      <dgm:prSet presAssocID="{CFE65633-B260-B541-B321-9A86E63B0803}" presName="node" presStyleLbl="node1" presStyleIdx="1" presStyleCnt="4" custScaleX="114934" custScaleY="137154" custRadScaleRad="119025" custRadScaleInc="33456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F39A86-01A4-1247-93F4-D7BA140C1D17}" type="pres">
      <dgm:prSet presAssocID="{72BA69D7-9855-4E42-A6F8-CDC560561DAD}" presName="parTrans" presStyleLbl="sibTrans2D1" presStyleIdx="2" presStyleCnt="4"/>
      <dgm:spPr/>
      <dgm:t>
        <a:bodyPr/>
        <a:lstStyle/>
        <a:p>
          <a:endParaRPr lang="en-US"/>
        </a:p>
      </dgm:t>
    </dgm:pt>
    <dgm:pt modelId="{ED19550C-4938-6F42-A4BC-40F46D624E97}" type="pres">
      <dgm:prSet presAssocID="{72BA69D7-9855-4E42-A6F8-CDC560561DAD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69BEABCB-1CA0-144E-B3E3-35A80200970F}" type="pres">
      <dgm:prSet presAssocID="{47734114-0F43-D14A-9658-DF70AF6F559A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D88F06-A201-9049-A27C-A94BB849B647}" type="pres">
      <dgm:prSet presAssocID="{3CBC63D4-971A-2B4E-AB6D-3B1E4CAA59BD}" presName="parTrans" presStyleLbl="sibTrans2D1" presStyleIdx="3" presStyleCnt="4"/>
      <dgm:spPr/>
      <dgm:t>
        <a:bodyPr/>
        <a:lstStyle/>
        <a:p>
          <a:endParaRPr lang="en-US"/>
        </a:p>
      </dgm:t>
    </dgm:pt>
    <dgm:pt modelId="{75CE542C-29B6-CA4F-B0D3-4C9B3236172C}" type="pres">
      <dgm:prSet presAssocID="{3CBC63D4-971A-2B4E-AB6D-3B1E4CAA59BD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B3B7A268-F1E5-174C-B58F-1C8AB1A76D8C}" type="pres">
      <dgm:prSet presAssocID="{2DBADF78-39BD-F24D-A791-1875D4481938}" presName="node" presStyleLbl="node1" presStyleIdx="3" presStyleCnt="4" custScaleY="58836" custRadScaleRad="104160" custRadScaleInc="6787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1E1DFC3-F4B3-AC41-9FFA-113D115BF438}" srcId="{2D7497B2-5314-C340-888B-E08C547C76C2}" destId="{CFE65633-B260-B541-B321-9A86E63B0803}" srcOrd="1" destOrd="0" parTransId="{A1DE0054-4F3C-3A47-A852-4256CB2873A2}" sibTransId="{47604D01-9AAB-E448-ADF1-B89AC99A6FA6}"/>
    <dgm:cxn modelId="{A2AC68B1-70B1-FD4E-B84A-4EEB76CD052A}" type="presOf" srcId="{3CBC63D4-971A-2B4E-AB6D-3B1E4CAA59BD}" destId="{59D88F06-A201-9049-A27C-A94BB849B647}" srcOrd="0" destOrd="0" presId="urn:microsoft.com/office/officeart/2005/8/layout/radial5"/>
    <dgm:cxn modelId="{034143CE-5252-D245-B125-1DE656BBA5EA}" type="presOf" srcId="{3CBC63D4-971A-2B4E-AB6D-3B1E4CAA59BD}" destId="{75CE542C-29B6-CA4F-B0D3-4C9B3236172C}" srcOrd="1" destOrd="0" presId="urn:microsoft.com/office/officeart/2005/8/layout/radial5"/>
    <dgm:cxn modelId="{4978AC45-6313-E543-AA10-48C2F2A345ED}" type="presOf" srcId="{2DBADF78-39BD-F24D-A791-1875D4481938}" destId="{B3B7A268-F1E5-174C-B58F-1C8AB1A76D8C}" srcOrd="0" destOrd="0" presId="urn:microsoft.com/office/officeart/2005/8/layout/radial5"/>
    <dgm:cxn modelId="{4DD5549D-C2A8-CC4B-9FE7-FDEBECF3421F}" type="presOf" srcId="{9FC6C537-B398-5249-B661-BF4321DCAD5E}" destId="{EB3B6125-A314-2C40-A997-3B8A9257A225}" srcOrd="0" destOrd="0" presId="urn:microsoft.com/office/officeart/2005/8/layout/radial5"/>
    <dgm:cxn modelId="{53BEAFB3-125D-604A-BB5A-38E9F60CB744}" type="presOf" srcId="{47734114-0F43-D14A-9658-DF70AF6F559A}" destId="{69BEABCB-1CA0-144E-B3E3-35A80200970F}" srcOrd="0" destOrd="0" presId="urn:microsoft.com/office/officeart/2005/8/layout/radial5"/>
    <dgm:cxn modelId="{919526DE-AE94-0E47-8E65-E2FC5CBA368D}" srcId="{2D7497B2-5314-C340-888B-E08C547C76C2}" destId="{2DBADF78-39BD-F24D-A791-1875D4481938}" srcOrd="3" destOrd="0" parTransId="{3CBC63D4-971A-2B4E-AB6D-3B1E4CAA59BD}" sibTransId="{97C82726-6D36-6E4E-8012-85329E83B91C}"/>
    <dgm:cxn modelId="{AEF0B1F2-7544-984A-8B80-C37387AA222C}" type="presOf" srcId="{A1DE0054-4F3C-3A47-A852-4256CB2873A2}" destId="{75A0169E-62C7-1644-B176-47A11A033797}" srcOrd="0" destOrd="0" presId="urn:microsoft.com/office/officeart/2005/8/layout/radial5"/>
    <dgm:cxn modelId="{26C022B3-895A-4B45-B4A8-B47AA9442798}" type="presOf" srcId="{8980ACA2-3DCB-814E-B819-4279529A35C5}" destId="{C2DEC6EC-2BDC-6F47-BACC-268951FC3C20}" srcOrd="1" destOrd="0" presId="urn:microsoft.com/office/officeart/2005/8/layout/radial5"/>
    <dgm:cxn modelId="{91941FD8-F960-2340-88C9-CC8425CC354F}" type="presOf" srcId="{72BA69D7-9855-4E42-A6F8-CDC560561DAD}" destId="{ED19550C-4938-6F42-A4BC-40F46D624E97}" srcOrd="1" destOrd="0" presId="urn:microsoft.com/office/officeart/2005/8/layout/radial5"/>
    <dgm:cxn modelId="{79BCED6B-3B8D-1947-8A3D-99B6FD798489}" srcId="{2D7497B2-5314-C340-888B-E08C547C76C2}" destId="{0D530C91-5DEF-A84C-8B52-6ABF05AB5289}" srcOrd="0" destOrd="0" parTransId="{8980ACA2-3DCB-814E-B819-4279529A35C5}" sibTransId="{F70D67A6-0A00-DA46-AF7E-D54338DA9310}"/>
    <dgm:cxn modelId="{6689712C-420F-BD4B-84FB-1F81981A7D7A}" type="presOf" srcId="{72BA69D7-9855-4E42-A6F8-CDC560561DAD}" destId="{24F39A86-01A4-1247-93F4-D7BA140C1D17}" srcOrd="0" destOrd="0" presId="urn:microsoft.com/office/officeart/2005/8/layout/radial5"/>
    <dgm:cxn modelId="{38E9E52A-0A6D-1E4C-93B8-E26147007987}" srcId="{2D7497B2-5314-C340-888B-E08C547C76C2}" destId="{47734114-0F43-D14A-9658-DF70AF6F559A}" srcOrd="2" destOrd="0" parTransId="{72BA69D7-9855-4E42-A6F8-CDC560561DAD}" sibTransId="{33CEE063-26CB-2742-9B7F-FC6FD6E8F3BC}"/>
    <dgm:cxn modelId="{E4AB56E0-D8DF-1342-B7CA-8B01834F929B}" srcId="{9FC6C537-B398-5249-B661-BF4321DCAD5E}" destId="{2D7497B2-5314-C340-888B-E08C547C76C2}" srcOrd="0" destOrd="0" parTransId="{9BEDCE45-1E59-0743-AA6E-87E8C487F7E9}" sibTransId="{FA3A3F0C-1BF5-E342-9032-DCC3AE74247F}"/>
    <dgm:cxn modelId="{921D257D-280C-4444-9D7E-22E86322FC74}" type="presOf" srcId="{CFE65633-B260-B541-B321-9A86E63B0803}" destId="{40D08087-EF25-6C44-890E-366CAD79061F}" srcOrd="0" destOrd="0" presId="urn:microsoft.com/office/officeart/2005/8/layout/radial5"/>
    <dgm:cxn modelId="{F08F5889-9E6B-194E-BC3D-858174CADFBF}" type="presOf" srcId="{2D7497B2-5314-C340-888B-E08C547C76C2}" destId="{55A78867-AD80-1644-9C3D-CFB66F7CE2C0}" srcOrd="0" destOrd="0" presId="urn:microsoft.com/office/officeart/2005/8/layout/radial5"/>
    <dgm:cxn modelId="{A601A60E-91BB-564C-BDD4-1B0C5EBA15A3}" type="presOf" srcId="{8980ACA2-3DCB-814E-B819-4279529A35C5}" destId="{2BE31A5F-FEE3-BA40-876E-E55F95B43FC8}" srcOrd="0" destOrd="0" presId="urn:microsoft.com/office/officeart/2005/8/layout/radial5"/>
    <dgm:cxn modelId="{7B3F6169-D4DD-DF4B-A4CD-AEBA91B5B167}" type="presOf" srcId="{0D530C91-5DEF-A84C-8B52-6ABF05AB5289}" destId="{E96AA119-E25E-3644-B360-0D06AF3F4278}" srcOrd="0" destOrd="0" presId="urn:microsoft.com/office/officeart/2005/8/layout/radial5"/>
    <dgm:cxn modelId="{721DFD8C-F4C8-3B41-900D-519B22EC6B88}" type="presOf" srcId="{A1DE0054-4F3C-3A47-A852-4256CB2873A2}" destId="{29944C91-EEBD-7B4C-9744-179FE69DCE0E}" srcOrd="1" destOrd="0" presId="urn:microsoft.com/office/officeart/2005/8/layout/radial5"/>
    <dgm:cxn modelId="{BE248E0C-A4B6-DC48-8D2D-1E3C065FAC2D}" type="presParOf" srcId="{EB3B6125-A314-2C40-A997-3B8A9257A225}" destId="{55A78867-AD80-1644-9C3D-CFB66F7CE2C0}" srcOrd="0" destOrd="0" presId="urn:microsoft.com/office/officeart/2005/8/layout/radial5"/>
    <dgm:cxn modelId="{EBCE5C8D-A8D6-C546-8D26-7E2FDF633F96}" type="presParOf" srcId="{EB3B6125-A314-2C40-A997-3B8A9257A225}" destId="{2BE31A5F-FEE3-BA40-876E-E55F95B43FC8}" srcOrd="1" destOrd="0" presId="urn:microsoft.com/office/officeart/2005/8/layout/radial5"/>
    <dgm:cxn modelId="{D8DC13E3-4E9B-A840-9901-AD7434BA04CE}" type="presParOf" srcId="{2BE31A5F-FEE3-BA40-876E-E55F95B43FC8}" destId="{C2DEC6EC-2BDC-6F47-BACC-268951FC3C20}" srcOrd="0" destOrd="0" presId="urn:microsoft.com/office/officeart/2005/8/layout/radial5"/>
    <dgm:cxn modelId="{1E6DF975-E311-634F-97B9-977497D52AA1}" type="presParOf" srcId="{EB3B6125-A314-2C40-A997-3B8A9257A225}" destId="{E96AA119-E25E-3644-B360-0D06AF3F4278}" srcOrd="2" destOrd="0" presId="urn:microsoft.com/office/officeart/2005/8/layout/radial5"/>
    <dgm:cxn modelId="{D0B47006-B9B4-0D40-93D9-9638DC149411}" type="presParOf" srcId="{EB3B6125-A314-2C40-A997-3B8A9257A225}" destId="{75A0169E-62C7-1644-B176-47A11A033797}" srcOrd="3" destOrd="0" presId="urn:microsoft.com/office/officeart/2005/8/layout/radial5"/>
    <dgm:cxn modelId="{3F6538CF-065A-9240-A956-350D774CDA6A}" type="presParOf" srcId="{75A0169E-62C7-1644-B176-47A11A033797}" destId="{29944C91-EEBD-7B4C-9744-179FE69DCE0E}" srcOrd="0" destOrd="0" presId="urn:microsoft.com/office/officeart/2005/8/layout/radial5"/>
    <dgm:cxn modelId="{60081832-6373-EE4B-9907-7897278EEE8C}" type="presParOf" srcId="{EB3B6125-A314-2C40-A997-3B8A9257A225}" destId="{40D08087-EF25-6C44-890E-366CAD79061F}" srcOrd="4" destOrd="0" presId="urn:microsoft.com/office/officeart/2005/8/layout/radial5"/>
    <dgm:cxn modelId="{C50E863E-6BCB-9E4C-B216-065090C19AED}" type="presParOf" srcId="{EB3B6125-A314-2C40-A997-3B8A9257A225}" destId="{24F39A86-01A4-1247-93F4-D7BA140C1D17}" srcOrd="5" destOrd="0" presId="urn:microsoft.com/office/officeart/2005/8/layout/radial5"/>
    <dgm:cxn modelId="{AD4E85E9-6500-4747-BD99-C9FCD9CE9A3E}" type="presParOf" srcId="{24F39A86-01A4-1247-93F4-D7BA140C1D17}" destId="{ED19550C-4938-6F42-A4BC-40F46D624E97}" srcOrd="0" destOrd="0" presId="urn:microsoft.com/office/officeart/2005/8/layout/radial5"/>
    <dgm:cxn modelId="{3F07C5A8-8187-424A-A340-4B4194BE27DD}" type="presParOf" srcId="{EB3B6125-A314-2C40-A997-3B8A9257A225}" destId="{69BEABCB-1CA0-144E-B3E3-35A80200970F}" srcOrd="6" destOrd="0" presId="urn:microsoft.com/office/officeart/2005/8/layout/radial5"/>
    <dgm:cxn modelId="{C230FDDE-713A-0444-A642-C49883045FBD}" type="presParOf" srcId="{EB3B6125-A314-2C40-A997-3B8A9257A225}" destId="{59D88F06-A201-9049-A27C-A94BB849B647}" srcOrd="7" destOrd="0" presId="urn:microsoft.com/office/officeart/2005/8/layout/radial5"/>
    <dgm:cxn modelId="{E810523C-4334-2340-A682-79249857161D}" type="presParOf" srcId="{59D88F06-A201-9049-A27C-A94BB849B647}" destId="{75CE542C-29B6-CA4F-B0D3-4C9B3236172C}" srcOrd="0" destOrd="0" presId="urn:microsoft.com/office/officeart/2005/8/layout/radial5"/>
    <dgm:cxn modelId="{57BFC5A7-FF95-ED40-8499-2B1D32514B33}" type="presParOf" srcId="{EB3B6125-A314-2C40-A997-3B8A9257A225}" destId="{B3B7A268-F1E5-174C-B58F-1C8AB1A76D8C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A78867-AD80-1644-9C3D-CFB66F7CE2C0}">
      <dsp:nvSpPr>
        <dsp:cNvPr id="0" name=""/>
        <dsp:cNvSpPr/>
      </dsp:nvSpPr>
      <dsp:spPr>
        <a:xfrm>
          <a:off x="2532109" y="1448604"/>
          <a:ext cx="944202" cy="944202"/>
        </a:xfrm>
        <a:prstGeom prst="ellipse">
          <a:avLst/>
        </a:prstGeom>
        <a:gradFill rotWithShape="0">
          <a:gsLst>
            <a:gs pos="0">
              <a:schemeClr val="accent1">
                <a:alpha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alpha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alpha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Engineering Operations</a:t>
          </a:r>
          <a:endParaRPr lang="en-US" sz="900" kern="1200" dirty="0"/>
        </a:p>
      </dsp:txBody>
      <dsp:txXfrm>
        <a:off x="2670384" y="1586879"/>
        <a:ext cx="667652" cy="667652"/>
      </dsp:txXfrm>
    </dsp:sp>
    <dsp:sp modelId="{2BE31A5F-FEE3-BA40-876E-E55F95B43FC8}">
      <dsp:nvSpPr>
        <dsp:cNvPr id="0" name=""/>
        <dsp:cNvSpPr/>
      </dsp:nvSpPr>
      <dsp:spPr>
        <a:xfrm rot="16200000">
          <a:off x="2844298" y="995419"/>
          <a:ext cx="319825" cy="32102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2892272" y="1107599"/>
        <a:ext cx="223878" cy="192616"/>
      </dsp:txXfrm>
    </dsp:sp>
    <dsp:sp modelId="{E96AA119-E25E-3644-B360-0D06AF3F4278}">
      <dsp:nvSpPr>
        <dsp:cNvPr id="0" name=""/>
        <dsp:cNvSpPr/>
      </dsp:nvSpPr>
      <dsp:spPr>
        <a:xfrm>
          <a:off x="2614346" y="117460"/>
          <a:ext cx="779728" cy="727699"/>
        </a:xfrm>
        <a:prstGeom prst="ellipse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Corporate Quality</a:t>
          </a:r>
          <a:endParaRPr lang="en-US" sz="900" kern="1200" dirty="0"/>
        </a:p>
      </dsp:txBody>
      <dsp:txXfrm>
        <a:off x="2728535" y="224029"/>
        <a:ext cx="551350" cy="514561"/>
      </dsp:txXfrm>
    </dsp:sp>
    <dsp:sp modelId="{75A0169E-62C7-1644-B176-47A11A033797}">
      <dsp:nvSpPr>
        <dsp:cNvPr id="0" name=""/>
        <dsp:cNvSpPr/>
      </dsp:nvSpPr>
      <dsp:spPr>
        <a:xfrm rot="9033147">
          <a:off x="2220924" y="2121397"/>
          <a:ext cx="286981" cy="32102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31682"/>
                <a:satOff val="-9073"/>
                <a:lumOff val="18107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31682"/>
                <a:satOff val="-9073"/>
                <a:lumOff val="18107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31682"/>
                <a:satOff val="-9073"/>
                <a:lumOff val="1810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 rot="10800000">
        <a:off x="2301457" y="2164440"/>
        <a:ext cx="200887" cy="192616"/>
      </dsp:txXfrm>
    </dsp:sp>
    <dsp:sp modelId="{40D08087-EF25-6C44-890E-366CAD79061F}">
      <dsp:nvSpPr>
        <dsp:cNvPr id="0" name=""/>
        <dsp:cNvSpPr/>
      </dsp:nvSpPr>
      <dsp:spPr>
        <a:xfrm>
          <a:off x="838293" y="1958656"/>
          <a:ext cx="1348034" cy="1608647"/>
        </a:xfrm>
        <a:prstGeom prst="ellipse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13333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13333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13333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Development</a:t>
          </a:r>
          <a:endParaRPr lang="en-US" sz="900" kern="1200" dirty="0"/>
        </a:p>
      </dsp:txBody>
      <dsp:txXfrm>
        <a:off x="1035708" y="2194237"/>
        <a:ext cx="953204" cy="1137485"/>
      </dsp:txXfrm>
    </dsp:sp>
    <dsp:sp modelId="{24F39A86-01A4-1247-93F4-D7BA140C1D17}">
      <dsp:nvSpPr>
        <dsp:cNvPr id="0" name=""/>
        <dsp:cNvSpPr/>
      </dsp:nvSpPr>
      <dsp:spPr>
        <a:xfrm rot="5400000">
          <a:off x="2903284" y="2417007"/>
          <a:ext cx="201853" cy="32102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63364"/>
                <a:satOff val="-18145"/>
                <a:lumOff val="36215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63364"/>
                <a:satOff val="-18145"/>
                <a:lumOff val="36215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63364"/>
                <a:satOff val="-18145"/>
                <a:lumOff val="3621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2933562" y="2450935"/>
        <a:ext cx="141297" cy="192616"/>
      </dsp:txXfrm>
    </dsp:sp>
    <dsp:sp modelId="{69BEABCB-1CA0-144E-B3E3-35A80200970F}">
      <dsp:nvSpPr>
        <dsp:cNvPr id="0" name=""/>
        <dsp:cNvSpPr/>
      </dsp:nvSpPr>
      <dsp:spPr>
        <a:xfrm>
          <a:off x="2417772" y="2773662"/>
          <a:ext cx="1172876" cy="1172876"/>
        </a:xfrm>
        <a:prstGeom prst="ellipse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26667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26667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26667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Cross Functional Partners</a:t>
          </a:r>
          <a:endParaRPr lang="en-US" sz="900" kern="1200" dirty="0"/>
        </a:p>
      </dsp:txBody>
      <dsp:txXfrm>
        <a:off x="2589536" y="2945426"/>
        <a:ext cx="829348" cy="829348"/>
      </dsp:txXfrm>
    </dsp:sp>
    <dsp:sp modelId="{59D88F06-A201-9049-A27C-A94BB849B647}">
      <dsp:nvSpPr>
        <dsp:cNvPr id="0" name=""/>
        <dsp:cNvSpPr/>
      </dsp:nvSpPr>
      <dsp:spPr>
        <a:xfrm rot="12632598">
          <a:off x="2224595" y="1385605"/>
          <a:ext cx="289584" cy="32102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95046"/>
                <a:satOff val="-27218"/>
                <a:lumOff val="54322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95046"/>
                <a:satOff val="-27218"/>
                <a:lumOff val="54322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95046"/>
                <a:satOff val="-27218"/>
                <a:lumOff val="5432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 rot="10800000">
        <a:off x="2305443" y="1471885"/>
        <a:ext cx="202709" cy="192616"/>
      </dsp:txXfrm>
    </dsp:sp>
    <dsp:sp modelId="{B3B7A268-F1E5-174C-B58F-1C8AB1A76D8C}">
      <dsp:nvSpPr>
        <dsp:cNvPr id="0" name=""/>
        <dsp:cNvSpPr/>
      </dsp:nvSpPr>
      <dsp:spPr>
        <a:xfrm>
          <a:off x="1126529" y="813753"/>
          <a:ext cx="1172876" cy="690073"/>
        </a:xfrm>
        <a:prstGeom prst="ellipse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Learning Organization</a:t>
          </a:r>
          <a:endParaRPr lang="en-US" sz="900" kern="1200" dirty="0"/>
        </a:p>
      </dsp:txBody>
      <dsp:txXfrm>
        <a:off x="1298293" y="914812"/>
        <a:ext cx="829348" cy="4879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61DF92-301E-C14F-890A-10023778263C}" type="datetimeFigureOut">
              <a:rPr lang="en-US" smtClean="0"/>
              <a:t>10/23/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372676-985A-6941-873D-518E036262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570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266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869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9991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1839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----- Meeting Notes (10/20/14 10:44) -----</a:t>
            </a:r>
          </a:p>
          <a:p>
            <a:r>
              <a:rPr lang="en-US" dirty="0"/>
              <a:t>supplychain manufatur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0316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achieve</a:t>
            </a:r>
            <a:r>
              <a: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his our EVP has kicked off a transformation from the very top. </a:t>
            </a:r>
            <a:endParaRPr lang="en-US" sz="1200" b="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goal of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V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s to improve the performance of the development organization</a:t>
            </a:r>
            <a:endParaRPr lang="en-US" sz="1200" b="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     Build higher-quality products with shorter innovation cycles, resulting in higher value to the customer – and increase engineers' motivation and productivity</a:t>
            </a:r>
          </a:p>
          <a:p>
            <a:r>
              <a: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    Two-fold approach:  Transform to agile AND remove obstacles in our environment (e.g. tools) ~ </a:t>
            </a:r>
            <a:r>
              <a:rPr lang="en-US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vOps</a:t>
            </a:r>
            <a:endParaRPr lang="en-US" sz="1200" b="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   </a:t>
            </a:r>
            <a:endParaRPr lang="en-US" dirty="0" smtClean="0"/>
          </a:p>
          <a:p>
            <a:r>
              <a:rPr lang="en-US" dirty="0" smtClean="0"/>
              <a:t>Process – </a:t>
            </a:r>
          </a:p>
          <a:p>
            <a:pPr fontAlgn="base">
              <a:buClr>
                <a:srgbClr val="007A8F"/>
              </a:buClr>
              <a:buSzPct val="100000"/>
              <a:buFont typeface=""/>
            </a:pPr>
            <a:r>
              <a:rPr lang="en-US" sz="1500" b="1" dirty="0" smtClean="0">
                <a:solidFill>
                  <a:schemeClr val="bg1"/>
                </a:solidFill>
                <a:latin typeface="CiscoSansTT Light"/>
              </a:rPr>
              <a:t>Transform to high performance fit-for-purpose </a:t>
            </a:r>
            <a:r>
              <a:rPr lang="en-US" sz="1500" b="1" dirty="0" err="1" smtClean="0">
                <a:solidFill>
                  <a:schemeClr val="bg1"/>
                </a:solidFill>
                <a:latin typeface="CiscoSansTT Light"/>
              </a:rPr>
              <a:t>dev</a:t>
            </a:r>
            <a:r>
              <a:rPr lang="en-US" sz="1500" b="1" dirty="0" smtClean="0">
                <a:solidFill>
                  <a:schemeClr val="bg1"/>
                </a:solidFill>
                <a:latin typeface="CiscoSansTT Light"/>
              </a:rPr>
              <a:t> processes, e.g.</a:t>
            </a:r>
          </a:p>
          <a:p>
            <a:pPr marL="285738" lvl="1" indent="-171443" fontAlgn="base">
              <a:buClr>
                <a:srgbClr val="000000"/>
              </a:buClr>
              <a:buSzPct val="80000"/>
              <a:buFont typeface="Wingdings"/>
              <a:buChar char="§"/>
            </a:pPr>
            <a:r>
              <a:rPr lang="en-US" sz="1500" dirty="0" smtClean="0">
                <a:solidFill>
                  <a:schemeClr val="bg1"/>
                </a:solidFill>
                <a:latin typeface="CiscoSansTT Light"/>
              </a:rPr>
              <a:t>Agile</a:t>
            </a:r>
          </a:p>
          <a:p>
            <a:pPr marL="285738" lvl="1" indent="-171443" fontAlgn="base">
              <a:buClr>
                <a:srgbClr val="000000"/>
              </a:buClr>
              <a:buSzPct val="80000"/>
              <a:buFont typeface="Wingdings"/>
              <a:buChar char="§"/>
            </a:pPr>
            <a:r>
              <a:rPr lang="en-US" sz="1500" dirty="0" smtClean="0">
                <a:solidFill>
                  <a:schemeClr val="bg1"/>
                </a:solidFill>
                <a:latin typeface="CiscoSansTT Light"/>
              </a:rPr>
              <a:t>Continuous integration</a:t>
            </a:r>
          </a:p>
          <a:p>
            <a:pPr marL="285738" lvl="1" indent="-171443" fontAlgn="base">
              <a:buClr>
                <a:srgbClr val="000000"/>
              </a:buClr>
              <a:buSzPct val="80000"/>
              <a:buFont typeface="Wingdings"/>
              <a:buChar char="§"/>
            </a:pPr>
            <a:r>
              <a:rPr lang="en-US" sz="1500" dirty="0" smtClean="0">
                <a:solidFill>
                  <a:schemeClr val="bg1"/>
                </a:solidFill>
                <a:latin typeface="CiscoSansTT Light"/>
              </a:rPr>
              <a:t>Test Driven Development</a:t>
            </a:r>
          </a:p>
          <a:p>
            <a:endParaRPr lang="en-US" dirty="0" smtClean="0"/>
          </a:p>
          <a:p>
            <a:r>
              <a:rPr lang="en-US" dirty="0" smtClean="0"/>
              <a:t>Teams –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Improve quality and efficiency through re-evaluating</a:t>
            </a:r>
          </a:p>
          <a:p>
            <a:pPr marL="285738" lvl="1" indent="-171443" fontAlgn="base">
              <a:buClr>
                <a:srgbClr val="000000"/>
              </a:buClr>
              <a:buSzPct val="80000"/>
              <a:buFont typeface="Wingdings"/>
              <a:buChar char="§"/>
            </a:pPr>
            <a:r>
              <a:rPr lang="en-US" sz="1500" dirty="0" smtClean="0">
                <a:solidFill>
                  <a:schemeClr val="bg1"/>
                </a:solidFill>
                <a:latin typeface="CiscoSansTT Light"/>
              </a:rPr>
              <a:t>Development and test team structure</a:t>
            </a:r>
          </a:p>
          <a:p>
            <a:pPr marL="285738" lvl="1" indent="-171443" fontAlgn="base">
              <a:buClr>
                <a:srgbClr val="000000"/>
              </a:buClr>
              <a:buSzPct val="80000"/>
              <a:buFont typeface="Wingdings"/>
              <a:buChar char="§"/>
            </a:pPr>
            <a:r>
              <a:rPr lang="en-US" sz="1500" dirty="0" smtClean="0">
                <a:solidFill>
                  <a:schemeClr val="bg1"/>
                </a:solidFill>
                <a:latin typeface="CiscoSansTT Light"/>
              </a:rPr>
              <a:t>Roles</a:t>
            </a:r>
          </a:p>
          <a:p>
            <a:pPr marL="285738" lvl="1" indent="-171443" fontAlgn="base">
              <a:buClr>
                <a:srgbClr val="000000"/>
              </a:buClr>
              <a:buSzPct val="80000"/>
              <a:buFont typeface="Wingdings"/>
              <a:buChar char="§"/>
            </a:pPr>
            <a:r>
              <a:rPr lang="en-US" sz="1500" dirty="0" smtClean="0">
                <a:solidFill>
                  <a:schemeClr val="bg1"/>
                </a:solidFill>
                <a:latin typeface="CiscoSansTT Light"/>
              </a:rPr>
              <a:t>Interactions</a:t>
            </a:r>
          </a:p>
          <a:p>
            <a:endParaRPr lang="en-US" dirty="0" smtClean="0"/>
          </a:p>
          <a:p>
            <a:r>
              <a:rPr lang="en-US" dirty="0" smtClean="0"/>
              <a:t>Tools –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Simplify and modernize  tools to improve the individual Engineer's efficiency</a:t>
            </a:r>
          </a:p>
          <a:p>
            <a:pPr marL="285738" lvl="1" indent="-171443" fontAlgn="base">
              <a:buClr>
                <a:srgbClr val="000000"/>
              </a:buClr>
              <a:buSzPct val="80000"/>
              <a:buFont typeface="Wingdings"/>
              <a:buChar char="§"/>
            </a:pPr>
            <a:r>
              <a:rPr lang="en-US" sz="1500" dirty="0" smtClean="0">
                <a:solidFill>
                  <a:schemeClr val="bg1"/>
                </a:solidFill>
                <a:latin typeface="CiscoSansTT Light"/>
              </a:rPr>
              <a:t>"fire and forget" solutions</a:t>
            </a:r>
          </a:p>
          <a:p>
            <a:pPr marL="285738" lvl="1" indent="-171443" fontAlgn="base">
              <a:buClr>
                <a:srgbClr val="000000"/>
              </a:buClr>
              <a:buSzPct val="80000"/>
              <a:buFont typeface="Wingdings"/>
              <a:buChar char="§"/>
            </a:pPr>
            <a:r>
              <a:rPr lang="en-US" sz="1500" dirty="0" smtClean="0">
                <a:solidFill>
                  <a:schemeClr val="bg1"/>
                </a:solidFill>
                <a:latin typeface="CiscoSansTT Light"/>
              </a:rPr>
              <a:t>Automation</a:t>
            </a:r>
          </a:p>
          <a:p>
            <a:pPr marL="285738" lvl="1" indent="-171443" fontAlgn="base">
              <a:buClr>
                <a:srgbClr val="000000"/>
              </a:buClr>
              <a:buSzPct val="80000"/>
              <a:buFont typeface="Wingdings"/>
              <a:buChar char="§"/>
            </a:pPr>
            <a:r>
              <a:rPr lang="en-US" sz="1500" dirty="0" smtClean="0">
                <a:solidFill>
                  <a:schemeClr val="bg1"/>
                </a:solidFill>
                <a:latin typeface="CiscoSansTT Light"/>
              </a:rPr>
              <a:t>Back to the whole tool chain discussion</a:t>
            </a:r>
            <a:r>
              <a:rPr lang="en-US" sz="1500" baseline="0" dirty="0" smtClean="0">
                <a:solidFill>
                  <a:schemeClr val="bg1"/>
                </a:solidFill>
                <a:latin typeface="CiscoSansTT Light"/>
              </a:rPr>
              <a:t> we had earlier</a:t>
            </a:r>
            <a:endParaRPr lang="en-US" sz="1500" dirty="0" smtClean="0">
              <a:solidFill>
                <a:schemeClr val="bg1"/>
              </a:solidFill>
              <a:latin typeface="CiscoSansTT Light"/>
            </a:endParaRPr>
          </a:p>
          <a:p>
            <a:endParaRPr lang="en-US" dirty="0" smtClean="0"/>
          </a:p>
          <a:p>
            <a:r>
              <a:rPr lang="en-US" dirty="0" smtClean="0"/>
              <a:t>  </a:t>
            </a:r>
            <a:endParaRPr lang="en-US" sz="1500" dirty="0" smtClean="0">
              <a:solidFill>
                <a:schemeClr val="bg1"/>
              </a:solidFill>
              <a:latin typeface="CiscoSansTT Ligh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2DB87D-6B77-4EDA-945D-D9A3E7BC547C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6137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u="sng" dirty="0"/>
          </a:p>
          <a:p>
            <a:r>
              <a:rPr lang="en-US" u="sng" dirty="0"/>
              <a:t>----- Meeting Notes (10/20/14 10:44) -----</a:t>
            </a:r>
          </a:p>
          <a:p>
            <a:r>
              <a:rPr lang="en-US" u="sng" dirty="0"/>
              <a:t>chnage picture; new guidelines for asset protection based on provider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9545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3317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9277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----- Meeting Notes (10/20/14 10:44) -----</a:t>
            </a:r>
          </a:p>
          <a:p>
            <a:r>
              <a:rPr lang="en-US" dirty="0"/>
              <a:t>remove CBAB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324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726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2639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0102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0766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07661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3196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7262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----- Meeting Notes (10/20/14 10:44) -----</a:t>
            </a:r>
          </a:p>
          <a:p>
            <a:r>
              <a:rPr lang="en-US" dirty="0"/>
              <a:t>TAKE out 100 pages - repl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2DB87D-6B77-4EDA-945D-D9A3E7BC547C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25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9751477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98400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B852D2-89F3-4F54-99EB-12EAB6CAF198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932598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2100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0345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869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720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4470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869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0590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-2500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Large variety of languages across software types may inhibit consistently strong tools suppor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72676-985A-6941-873D-518E036262C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4105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pn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png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1.jpeg"/><Relationship Id="rId3" Type="http://schemas.openxmlformats.org/officeDocument/2006/relationships/image" Target="../media/image10.jpeg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1.jpe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pn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png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png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png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0.jpeg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png"/><Relationship Id="rId3" Type="http://schemas.openxmlformats.org/officeDocument/2006/relationships/image" Target="../media/image12.png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pn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png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png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3.jpe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3.jpeg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png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png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1.jpeg"/><Relationship Id="rId3" Type="http://schemas.openxmlformats.org/officeDocument/2006/relationships/image" Target="../media/image10.jpeg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1.jpeg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png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png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png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pn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0.jpeg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png"/><Relationship Id="rId3" Type="http://schemas.openxmlformats.org/officeDocument/2006/relationships/image" Target="../media/image12.png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png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png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3.jpe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3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png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png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1.jpeg"/><Relationship Id="rId3" Type="http://schemas.openxmlformats.org/officeDocument/2006/relationships/image" Target="../media/image10.jpe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1.jpeg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png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png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png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png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0.jpe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png"/><Relationship Id="rId3" Type="http://schemas.openxmlformats.org/officeDocument/2006/relationships/image" Target="../media/image12.png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png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png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pn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3.jpeg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4.jpeg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4.jpeg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5.png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5.png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5.png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6.png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6.png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6.png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6.png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5.png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5.png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5.png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5.png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4.jpeg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5.png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5.png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3.jpeg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3.jpeg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4.jpeg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4.jpeg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5.png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5.png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5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6.png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6.png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6.png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6.png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5.png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5.png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5.png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5.png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5.png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4.jpeg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5.png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5.png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5.png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3.jpeg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3.jpeg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8.emf"/><Relationship Id="rId6" Type="http://schemas.openxmlformats.org/officeDocument/2006/relationships/image" Target="../media/image19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8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jpe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jpe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pn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pn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8.jpeg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jpeg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Placeholder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9" name="Round Same Side Corner Rectangle 58"/>
          <p:cNvSpPr/>
          <p:nvPr userDrawn="1"/>
        </p:nvSpPr>
        <p:spPr>
          <a:xfrm rot="10800000">
            <a:off x="5909733" y="-5"/>
            <a:ext cx="3234261" cy="4213935"/>
          </a:xfrm>
          <a:prstGeom prst="round2SameRect">
            <a:avLst>
              <a:gd name="adj1" fmla="val 49818"/>
              <a:gd name="adj2" fmla="val 0"/>
            </a:avLst>
          </a:prstGeom>
          <a:gradFill flip="none" rotWithShape="1">
            <a:gsLst>
              <a:gs pos="0">
                <a:srgbClr val="00B2F0">
                  <a:alpha val="52000"/>
                </a:srgbClr>
              </a:gs>
              <a:gs pos="100000">
                <a:srgbClr val="96CA4B">
                  <a:alpha val="52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12700">
            <a:gradFill>
              <a:gsLst>
                <a:gs pos="0">
                  <a:schemeClr val="tx1"/>
                </a:gs>
                <a:gs pos="50000">
                  <a:srgbClr val="3EB549"/>
                </a:gs>
                <a:gs pos="100000">
                  <a:schemeClr val="accent4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Round Same Side Corner Rectangle 28"/>
          <p:cNvSpPr/>
          <p:nvPr userDrawn="1"/>
        </p:nvSpPr>
        <p:spPr>
          <a:xfrm rot="10800000">
            <a:off x="5715000" y="-1"/>
            <a:ext cx="2878666" cy="2900982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/>
          <a:p>
            <a:pPr lvl="1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77728" y="1222035"/>
            <a:ext cx="1715337" cy="3849499"/>
            <a:chOff x="547855" y="1510844"/>
            <a:chExt cx="2250002" cy="5309775"/>
          </a:xfrm>
        </p:grpSpPr>
        <p:sp>
          <p:nvSpPr>
            <p:cNvPr id="66" name="Rounded Rectangle 65"/>
            <p:cNvSpPr/>
            <p:nvPr/>
          </p:nvSpPr>
          <p:spPr>
            <a:xfrm flipH="1">
              <a:off x="547855" y="1510844"/>
              <a:ext cx="726002" cy="3399841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00B2F0">
                    <a:alpha val="48000"/>
                  </a:srgbClr>
                </a:gs>
                <a:gs pos="100000">
                  <a:srgbClr val="96CA4B">
                    <a:alpha val="26000"/>
                  </a:srgb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 defTabSz="914400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7" name="Rounded Rectangle 66"/>
            <p:cNvSpPr/>
            <p:nvPr/>
          </p:nvSpPr>
          <p:spPr>
            <a:xfrm flipH="1">
              <a:off x="928855" y="3628485"/>
              <a:ext cx="726002" cy="1893196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60000"/>
                <a:lumOff val="40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8" name="Rounded Rectangle 67"/>
            <p:cNvSpPr/>
            <p:nvPr/>
          </p:nvSpPr>
          <p:spPr>
            <a:xfrm flipH="1">
              <a:off x="2071855" y="5460823"/>
              <a:ext cx="726002" cy="1359796"/>
            </a:xfrm>
            <a:prstGeom prst="roundRect">
              <a:avLst>
                <a:gd name="adj" fmla="val 50000"/>
              </a:avLst>
            </a:prstGeom>
            <a:solidFill>
              <a:srgbClr val="B7D333">
                <a:alpha val="2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892805" y="-463569"/>
            <a:ext cx="2497666" cy="2309302"/>
          </a:xfrm>
        </p:spPr>
        <p:txBody>
          <a:bodyPr/>
          <a:lstStyle>
            <a:lvl1pPr>
              <a:lnSpc>
                <a:spcPct val="90000"/>
              </a:lnSpc>
              <a:defRPr lang="en-US" sz="3600" b="0" kern="1200" spc="-20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 (Static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96026" y="3051412"/>
            <a:ext cx="2436648" cy="263731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 hasCustomPrompt="1"/>
          </p:nvPr>
        </p:nvSpPr>
        <p:spPr>
          <a:xfrm>
            <a:off x="6380417" y="3396876"/>
            <a:ext cx="2452258" cy="261167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pSp>
        <p:nvGrpSpPr>
          <p:cNvPr id="31" name="Group 67"/>
          <p:cNvGrpSpPr/>
          <p:nvPr userDrawn="1"/>
        </p:nvGrpSpPr>
        <p:grpSpPr>
          <a:xfrm>
            <a:off x="8070147" y="4470778"/>
            <a:ext cx="726727" cy="384199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</p:grpSp>
      <p:sp>
        <p:nvSpPr>
          <p:cNvPr id="47" name="TextBox 46"/>
          <p:cNvSpPr txBox="1"/>
          <p:nvPr userDrawn="1"/>
        </p:nvSpPr>
        <p:spPr>
          <a:xfrm>
            <a:off x="299572" y="96343"/>
            <a:ext cx="2232247" cy="101566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914400"/>
            <a:r>
              <a:rPr lang="en-US" sz="3000" dirty="0">
                <a:solidFill>
                  <a:srgbClr val="7F7F7F"/>
                </a:solidFill>
                <a:latin typeface="Arial Narrow" pitchFamily="34" charset="0"/>
              </a:rPr>
              <a:t>Talent Management</a:t>
            </a:r>
            <a:endParaRPr lang="en-GB" sz="3000" dirty="0">
              <a:solidFill>
                <a:srgbClr val="7F7F7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06065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0" y="679957"/>
            <a:ext cx="9144000" cy="42275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Round Same Side Corner Rectangle 21"/>
          <p:cNvSpPr/>
          <p:nvPr userDrawn="1"/>
        </p:nvSpPr>
        <p:spPr>
          <a:xfrm rot="10800000">
            <a:off x="7440118" y="694941"/>
            <a:ext cx="932840" cy="198294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Round Same Side Corner Rectangle 26"/>
          <p:cNvSpPr/>
          <p:nvPr userDrawn="1"/>
        </p:nvSpPr>
        <p:spPr>
          <a:xfrm rot="10800000">
            <a:off x="8114529" y="694940"/>
            <a:ext cx="932839" cy="10740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alpha val="8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Rounded Rectangle 27"/>
          <p:cNvSpPr/>
          <p:nvPr userDrawn="1"/>
        </p:nvSpPr>
        <p:spPr>
          <a:xfrm>
            <a:off x="7512305" y="3115609"/>
            <a:ext cx="860654" cy="1388660"/>
          </a:xfrm>
          <a:prstGeom prst="roundRect">
            <a:avLst>
              <a:gd name="adj" fmla="val 50000"/>
            </a:avLst>
          </a:prstGeom>
          <a:solidFill>
            <a:srgbClr val="0096D6">
              <a:alpha val="8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Round Same Side Corner Rectangle 13"/>
          <p:cNvSpPr/>
          <p:nvPr userDrawn="1"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229702" y="-4181"/>
            <a:ext cx="4123944" cy="628650"/>
          </a:xfrm>
        </p:spPr>
        <p:txBody>
          <a:bodyPr vert="horz" lIns="82296" tIns="45720" rIns="82296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600" b="0" kern="1200" spc="-100" baseline="0" dirty="0" smtClean="0"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19455" y="899556"/>
            <a:ext cx="4142232" cy="3695304"/>
          </a:xfrm>
        </p:spPr>
        <p:txBody>
          <a:bodyPr/>
          <a:lstStyle>
            <a:lvl1pPr marL="0" indent="0">
              <a:buNone/>
              <a:defRPr>
                <a:solidFill>
                  <a:srgbClr val="435153"/>
                </a:solidFill>
                <a:latin typeface="+mj-lt"/>
              </a:defRPr>
            </a:lvl1pPr>
            <a:lvl2pPr marL="635000" indent="-228600">
              <a:buClr>
                <a:schemeClr val="accent5"/>
              </a:buClr>
              <a:buFont typeface="Arial" pitchFamily="34" charset="0"/>
              <a:buChar char="•"/>
              <a:tabLst/>
              <a:defRPr>
                <a:solidFill>
                  <a:srgbClr val="435153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818889" y="899556"/>
            <a:ext cx="4104979" cy="3695304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rgbClr val="435153"/>
                </a:solidFill>
                <a:latin typeface="+mj-lt"/>
              </a:defRPr>
            </a:lvl1pPr>
            <a:lvl2pPr marL="635000" indent="-228600">
              <a:buClr>
                <a:schemeClr val="accent1">
                  <a:lumMod val="40000"/>
                  <a:lumOff val="60000"/>
                </a:schemeClr>
              </a:buClr>
              <a:buFont typeface="Arial" pitchFamily="34" charset="0"/>
              <a:buChar char="•"/>
              <a:defRPr>
                <a:solidFill>
                  <a:srgbClr val="435153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21" name="Rectangle 20"/>
          <p:cNvSpPr/>
          <p:nvPr userDrawn="1"/>
        </p:nvSpPr>
        <p:spPr>
          <a:xfrm rot="5400000">
            <a:off x="2696541" y="2767311"/>
            <a:ext cx="3771900" cy="72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6000">
                <a:srgbClr val="008851"/>
              </a:gs>
              <a:gs pos="21000">
                <a:srgbClr val="01BBBB"/>
              </a:gs>
              <a:gs pos="100000">
                <a:schemeClr val="accent4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IN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4"/>
          <p:cNvSpPr>
            <a:spLocks noChangeArrowheads="1"/>
          </p:cNvSpPr>
          <p:nvPr userDrawn="1"/>
        </p:nvSpPr>
        <p:spPr bwMode="ltGray">
          <a:xfrm>
            <a:off x="251376" y="4931497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40522" y="4927118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30" name="Text Placeholder 20"/>
          <p:cNvSpPr>
            <a:spLocks noGrp="1" noChangeAspect="1"/>
          </p:cNvSpPr>
          <p:nvPr userDrawn="1">
            <p:ph type="body" sz="quarter" idx="19" hasCustomPrompt="1"/>
          </p:nvPr>
        </p:nvSpPr>
        <p:spPr>
          <a:xfrm>
            <a:off x="4809508" y="1166"/>
            <a:ext cx="4114361" cy="617959"/>
          </a:xfrm>
        </p:spPr>
        <p:txBody>
          <a:bodyPr vert="horz" lIns="82296" tIns="45720" rIns="82296" bIns="45720" rtlCol="0" anchor="t" anchorCtr="0">
            <a:noAutofit/>
          </a:bodyPr>
          <a:lstStyle>
            <a:lvl1pPr>
              <a:defRPr lang="en-US" sz="2600" b="0" spc="-100" baseline="0" dirty="0" smtClean="0"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dirty="0" smtClean="0"/>
              <a:t>Two Column</a:t>
            </a:r>
          </a:p>
          <a:p>
            <a:pPr lvl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dirty="0" smtClean="0"/>
              <a:t>Title Right</a:t>
            </a:r>
          </a:p>
        </p:txBody>
      </p:sp>
    </p:spTree>
    <p:extLst>
      <p:ext uri="{BB962C8B-B14F-4D97-AF65-F5344CB8AC3E}">
        <p14:creationId xmlns:p14="http://schemas.microsoft.com/office/powerpoint/2010/main" val="295282996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>
          <a:xfrm rot="10800000" flipV="1">
            <a:off x="0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51387" y="4931526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2" name="Rectangle 5"/>
          <p:cNvSpPr>
            <a:spLocks noChangeArrowheads="1"/>
          </p:cNvSpPr>
          <p:nvPr userDrawn="1"/>
        </p:nvSpPr>
        <p:spPr bwMode="ltGray">
          <a:xfrm>
            <a:off x="7789700" y="4930224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40564" y="4927146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992624" y="644652"/>
            <a:ext cx="3630168" cy="3771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992624" y="644652"/>
            <a:ext cx="3630168" cy="37719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2673477"/>
            <a:ext cx="4349918" cy="188595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2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Round Same Side Corner Rectangle 21"/>
          <p:cNvSpPr/>
          <p:nvPr userDrawn="1"/>
        </p:nvSpPr>
        <p:spPr>
          <a:xfrm rot="10800000">
            <a:off x="413458" y="8807"/>
            <a:ext cx="825289" cy="175432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ounded Rectangle 22"/>
          <p:cNvSpPr/>
          <p:nvPr userDrawn="1"/>
        </p:nvSpPr>
        <p:spPr>
          <a:xfrm>
            <a:off x="477308" y="2677126"/>
            <a:ext cx="761426" cy="1228556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  <a:alpha val="2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Round Same Side Corner Rectangle 23"/>
          <p:cNvSpPr/>
          <p:nvPr userDrawn="1"/>
        </p:nvSpPr>
        <p:spPr>
          <a:xfrm rot="10800000">
            <a:off x="1087859" y="8808"/>
            <a:ext cx="825289" cy="95026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934820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 Same Side Corner Rectangle 16"/>
          <p:cNvSpPr/>
          <p:nvPr userDrawn="1"/>
        </p:nvSpPr>
        <p:spPr>
          <a:xfrm rot="10800000" flipV="1">
            <a:off x="1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668713" y="233363"/>
            <a:ext cx="3268136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669004" y="233363"/>
            <a:ext cx="3267861" cy="1995489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16" tIns="45708" rIns="91416" bIns="45708" rtlCol="0" anchor="ctr" anchorCtr="0">
            <a:normAutofit/>
          </a:bodyPr>
          <a:lstStyle>
            <a:lvl1pPr marL="0" indent="0" algn="ctr" defTabSz="91417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334964" y="233363"/>
            <a:ext cx="3258612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20834" y="233363"/>
            <a:ext cx="3272751" cy="1995489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16" tIns="45708" rIns="91416" bIns="45708" rtlCol="0" anchor="ctr" anchorCtr="0">
            <a:normAutofit/>
          </a:bodyPr>
          <a:lstStyle>
            <a:lvl1pPr marL="0" indent="0" algn="ctr" defTabSz="91417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7011988" y="233363"/>
            <a:ext cx="1806574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7012003" y="233363"/>
            <a:ext cx="1806573" cy="98107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16" tIns="45708" rIns="91416" bIns="45708" rtlCol="0" anchor="ctr" anchorCtr="0">
            <a:normAutofit/>
          </a:bodyPr>
          <a:lstStyle>
            <a:lvl1pPr marL="0" indent="0" algn="ctr" defTabSz="91417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2" name="Rectangle 51"/>
          <p:cNvSpPr/>
          <p:nvPr/>
        </p:nvSpPr>
        <p:spPr>
          <a:xfrm>
            <a:off x="334973" y="2271723"/>
            <a:ext cx="2501965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320824" y="2271723"/>
            <a:ext cx="2516104" cy="25942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16" tIns="45708" rIns="91416" bIns="45708" rtlCol="0" anchor="ctr" anchorCtr="0">
            <a:normAutofit/>
          </a:bodyPr>
          <a:lstStyle>
            <a:lvl1pPr marL="0" indent="0" algn="ctr" defTabSz="91417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4" name="Rectangle 53"/>
          <p:cNvSpPr/>
          <p:nvPr/>
        </p:nvSpPr>
        <p:spPr>
          <a:xfrm>
            <a:off x="2911476" y="2271723"/>
            <a:ext cx="4025374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2908334" y="2271723"/>
            <a:ext cx="4028516" cy="25942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16" tIns="45708" rIns="91416" bIns="45708" rtlCol="0" anchor="ctr" anchorCtr="0">
            <a:normAutofit/>
          </a:bodyPr>
          <a:lstStyle>
            <a:lvl1pPr marL="0" indent="0" algn="ctr" defTabSz="91417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7011988" y="1262753"/>
            <a:ext cx="1806574" cy="258161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7012003" y="1257301"/>
            <a:ext cx="1806573" cy="2587058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16" tIns="45708" rIns="91416" bIns="45708" rtlCol="0" anchor="ctr" anchorCtr="0">
            <a:normAutofit/>
          </a:bodyPr>
          <a:lstStyle>
            <a:lvl1pPr marL="0" indent="0" algn="ctr" defTabSz="91417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7011988" y="3887220"/>
            <a:ext cx="1806574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7012003" y="3887220"/>
            <a:ext cx="1806573" cy="97869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16" tIns="45708" rIns="91416" bIns="45708" rtlCol="0" anchor="ctr" anchorCtr="0">
            <a:normAutofit/>
          </a:bodyPr>
          <a:lstStyle>
            <a:lvl1pPr marL="0" indent="0" algn="ctr" defTabSz="91417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18" name="Rectangle 4"/>
          <p:cNvSpPr>
            <a:spLocks noChangeArrowheads="1"/>
          </p:cNvSpPr>
          <p:nvPr userDrawn="1"/>
        </p:nvSpPr>
        <p:spPr bwMode="ltGray">
          <a:xfrm>
            <a:off x="251387" y="4931526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7789700" y="4930224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21" name="Rectangle 7"/>
          <p:cNvSpPr>
            <a:spLocks noChangeArrowheads="1"/>
          </p:cNvSpPr>
          <p:nvPr userDrawn="1"/>
        </p:nvSpPr>
        <p:spPr bwMode="ltGray">
          <a:xfrm>
            <a:off x="8640564" y="4927146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0660272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Full bleed image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98495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22" name="Rectangle 2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3" cstate="email">
              <a:alphaModFix amt="29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9" name="Rounded Rectangle 58"/>
          <p:cNvSpPr/>
          <p:nvPr userDrawn="1"/>
        </p:nvSpPr>
        <p:spPr>
          <a:xfrm>
            <a:off x="160758" y="-1581783"/>
            <a:ext cx="1508760" cy="2672231"/>
          </a:xfrm>
          <a:prstGeom prst="roundRect">
            <a:avLst>
              <a:gd name="adj" fmla="val 50000"/>
            </a:avLst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Title 8"/>
          <p:cNvSpPr>
            <a:spLocks noGrp="1"/>
          </p:cNvSpPr>
          <p:nvPr>
            <p:ph type="title"/>
          </p:nvPr>
        </p:nvSpPr>
        <p:spPr>
          <a:xfrm>
            <a:off x="676003" y="1637698"/>
            <a:ext cx="4349918" cy="124097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681138" y="1512215"/>
            <a:ext cx="3031895" cy="3631295"/>
          </a:xfrm>
          <a:prstGeom prst="round2SameRect">
            <a:avLst>
              <a:gd name="adj1" fmla="val 50000"/>
              <a:gd name="adj2" fmla="val 0"/>
            </a:avLst>
          </a:prstGeom>
        </p:spPr>
        <p:txBody>
          <a:bodyPr anchor="ctr" anchorCtr="1"/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grpSp>
        <p:nvGrpSpPr>
          <p:cNvPr id="26" name="Group 3"/>
          <p:cNvGrpSpPr/>
          <p:nvPr userDrawn="1"/>
        </p:nvGrpSpPr>
        <p:grpSpPr>
          <a:xfrm>
            <a:off x="231246" y="4445000"/>
            <a:ext cx="825168" cy="436242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27" name="Rectangle 26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172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0" name="Freeform 29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818380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/>
        </p:nvSpPr>
        <p:spPr bwMode="ltGray">
          <a:xfrm>
            <a:off x="7789700" y="4894599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251387" y="4895901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ltGray">
          <a:xfrm>
            <a:off x="8640564" y="4891521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839343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Same Side Corner Rectangle 2"/>
          <p:cNvSpPr/>
          <p:nvPr userDrawn="1"/>
        </p:nvSpPr>
        <p:spPr>
          <a:xfrm rot="10800000" flipV="1">
            <a:off x="1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angle 4"/>
          <p:cNvSpPr>
            <a:spLocks noChangeArrowheads="1"/>
          </p:cNvSpPr>
          <p:nvPr userDrawn="1"/>
        </p:nvSpPr>
        <p:spPr bwMode="ltGray">
          <a:xfrm>
            <a:off x="251387" y="4931526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" name="Rectangle 5"/>
          <p:cNvSpPr>
            <a:spLocks noChangeArrowheads="1"/>
          </p:cNvSpPr>
          <p:nvPr userDrawn="1"/>
        </p:nvSpPr>
        <p:spPr bwMode="ltGray">
          <a:xfrm>
            <a:off x="7789700" y="4930224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ltGray">
          <a:xfrm>
            <a:off x="8640564" y="4927146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600509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 Same Side Corner Rectangle 16"/>
          <p:cNvSpPr/>
          <p:nvPr userDrawn="1"/>
        </p:nvSpPr>
        <p:spPr>
          <a:xfrm rot="10800000" flipV="1">
            <a:off x="1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black">
          <a:xfrm>
            <a:off x="4373716" y="4244287"/>
            <a:ext cx="41443" cy="15701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19" name="Freeform 18"/>
          <p:cNvSpPr>
            <a:spLocks/>
          </p:cNvSpPr>
          <p:nvPr userDrawn="1"/>
        </p:nvSpPr>
        <p:spPr bwMode="black">
          <a:xfrm>
            <a:off x="4615138" y="4239939"/>
            <a:ext cx="119991" cy="165712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4" name="Freeform 33"/>
          <p:cNvSpPr>
            <a:spLocks/>
          </p:cNvSpPr>
          <p:nvPr userDrawn="1"/>
        </p:nvSpPr>
        <p:spPr bwMode="black">
          <a:xfrm>
            <a:off x="4200229" y="4239939"/>
            <a:ext cx="119991" cy="165712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5" name="Freeform 34"/>
          <p:cNvSpPr>
            <a:spLocks noEditPoints="1"/>
          </p:cNvSpPr>
          <p:nvPr userDrawn="1"/>
        </p:nvSpPr>
        <p:spPr bwMode="black">
          <a:xfrm>
            <a:off x="4778505" y="4239939"/>
            <a:ext cx="164807" cy="165712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6" name="Freeform 35"/>
          <p:cNvSpPr>
            <a:spLocks/>
          </p:cNvSpPr>
          <p:nvPr userDrawn="1"/>
        </p:nvSpPr>
        <p:spPr bwMode="black">
          <a:xfrm>
            <a:off x="4468634" y="4239939"/>
            <a:ext cx="107462" cy="165712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/>
          </p:cNvSpPr>
          <p:nvPr userDrawn="1"/>
        </p:nvSpPr>
        <p:spPr bwMode="black">
          <a:xfrm>
            <a:off x="4117826" y="4053935"/>
            <a:ext cx="39033" cy="8068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/>
          </p:cNvSpPr>
          <p:nvPr userDrawn="1"/>
        </p:nvSpPr>
        <p:spPr bwMode="black">
          <a:xfrm>
            <a:off x="4227215" y="3999826"/>
            <a:ext cx="39033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/>
          </p:cNvSpPr>
          <p:nvPr userDrawn="1"/>
        </p:nvSpPr>
        <p:spPr bwMode="black">
          <a:xfrm>
            <a:off x="4334677" y="3925434"/>
            <a:ext cx="39033" cy="24832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 userDrawn="1"/>
        </p:nvSpPr>
        <p:spPr bwMode="black">
          <a:xfrm>
            <a:off x="4444066" y="3999826"/>
            <a:ext cx="39033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4551052" y="4053935"/>
            <a:ext cx="41443" cy="8068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4660442" y="3999826"/>
            <a:ext cx="39515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4769832" y="3925434"/>
            <a:ext cx="39515" cy="24832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4877293" y="3999826"/>
            <a:ext cx="39515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4986683" y="4053935"/>
            <a:ext cx="39515" cy="8068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26735781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34" grpId="0" animBg="1"/>
      <p:bldP spid="35" grpId="0" animBg="1"/>
      <p:bldP spid="36" grpId="0" animBg="1"/>
      <p:bldP spid="37" grpId="0" animBg="1"/>
      <p:bldP spid="37" grpId="1" animBg="1"/>
      <p:bldP spid="38" grpId="0" animBg="1"/>
      <p:bldP spid="38" grpId="1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</p:bld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 Same Side Corner Rectangle 17"/>
          <p:cNvSpPr/>
          <p:nvPr userDrawn="1"/>
        </p:nvSpPr>
        <p:spPr>
          <a:xfrm rot="10800000" flipV="1">
            <a:off x="1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44691" y="2295377"/>
            <a:ext cx="2468596" cy="646307"/>
          </a:xfrm>
          <a:prstGeom prst="rect">
            <a:avLst/>
          </a:prstGeom>
          <a:noFill/>
        </p:spPr>
        <p:txBody>
          <a:bodyPr wrap="none" lIns="91416" tIns="45708" rIns="91416" bIns="45708" rtlCol="0">
            <a:spAutoFit/>
          </a:bodyPr>
          <a:lstStyle/>
          <a:p>
            <a:pPr defTabSz="914172"/>
            <a:r>
              <a:rPr lang="en-US" sz="3600" dirty="0" smtClean="0">
                <a:solidFill>
                  <a:srgbClr val="FFFFFF"/>
                </a:solidFill>
                <a:latin typeface="Arial"/>
              </a:rPr>
              <a:t>Thank you.</a:t>
            </a:r>
            <a:endParaRPr lang="en-US" sz="3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black">
          <a:xfrm>
            <a:off x="6312989" y="2785710"/>
            <a:ext cx="116616" cy="44182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5" name="Freeform 34"/>
          <p:cNvSpPr>
            <a:spLocks/>
          </p:cNvSpPr>
          <p:nvPr userDrawn="1"/>
        </p:nvSpPr>
        <p:spPr bwMode="black">
          <a:xfrm>
            <a:off x="6992342" y="2774712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6" name="Freeform 35"/>
          <p:cNvSpPr>
            <a:spLocks/>
          </p:cNvSpPr>
          <p:nvPr userDrawn="1"/>
        </p:nvSpPr>
        <p:spPr bwMode="black">
          <a:xfrm>
            <a:off x="5824831" y="2774712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 noEditPoints="1"/>
          </p:cNvSpPr>
          <p:nvPr userDrawn="1"/>
        </p:nvSpPr>
        <p:spPr bwMode="black">
          <a:xfrm>
            <a:off x="7452023" y="2774712"/>
            <a:ext cx="463750" cy="466297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/>
          </p:cNvSpPr>
          <p:nvPr userDrawn="1"/>
        </p:nvSpPr>
        <p:spPr bwMode="black">
          <a:xfrm>
            <a:off x="6580120" y="2774712"/>
            <a:ext cx="302387" cy="466297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/>
          </p:cNvSpPr>
          <p:nvPr userDrawn="1"/>
        </p:nvSpPr>
        <p:spPr bwMode="black">
          <a:xfrm>
            <a:off x="5592969" y="2159538"/>
            <a:ext cx="109835" cy="22703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 userDrawn="1"/>
        </p:nvSpPr>
        <p:spPr bwMode="black">
          <a:xfrm>
            <a:off x="5900778" y="2007287"/>
            <a:ext cx="109835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6203168" y="1797929"/>
            <a:ext cx="109835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6510969" y="2007280"/>
            <a:ext cx="109835" cy="3792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6811994" y="2159537"/>
            <a:ext cx="116616" cy="22703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7119814" y="2007278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7427626" y="1797920"/>
            <a:ext cx="111191" cy="698766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7730010" y="2007278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8037822" y="2159537"/>
            <a:ext cx="111191" cy="22703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914172"/>
            <a:endParaRPr lang="en-US" dirty="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0332264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19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</p:bld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/>
          <p:cNvSpPr/>
          <p:nvPr/>
        </p:nvSpPr>
        <p:spPr>
          <a:xfrm>
            <a:off x="3405367" y="4461478"/>
            <a:ext cx="599089" cy="8592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460948" y="4461478"/>
            <a:ext cx="472965" cy="859220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771705" y="4461478"/>
            <a:ext cx="472965" cy="859220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/>
        </p:nvSpPr>
        <p:spPr>
          <a:xfrm rot="10800000" flipH="1">
            <a:off x="2856506" y="623464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Rounded Rectangle 27"/>
          <p:cNvSpPr/>
          <p:nvPr userDrawn="1"/>
        </p:nvSpPr>
        <p:spPr>
          <a:xfrm rot="10800000" flipH="1">
            <a:off x="821966" y="3537586"/>
            <a:ext cx="656314" cy="11306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Rounded Rectangle 28"/>
          <p:cNvSpPr/>
          <p:nvPr userDrawn="1"/>
        </p:nvSpPr>
        <p:spPr>
          <a:xfrm rot="10800000" flipH="1">
            <a:off x="1332506" y="1485910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>
          <a:xfrm rot="10800000" flipH="1">
            <a:off x="5869870" y="4960620"/>
            <a:ext cx="780312" cy="2489662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 rot="10800000" flipH="1">
            <a:off x="6933207" y="4960621"/>
            <a:ext cx="656314" cy="11306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Rounded Rectangle 33"/>
          <p:cNvSpPr/>
          <p:nvPr/>
        </p:nvSpPr>
        <p:spPr>
          <a:xfrm rot="10800000" flipH="1">
            <a:off x="2191501" y="5039599"/>
            <a:ext cx="662549" cy="474829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ounded Rectangle 34"/>
          <p:cNvSpPr/>
          <p:nvPr/>
        </p:nvSpPr>
        <p:spPr>
          <a:xfrm rot="10800000" flipH="1">
            <a:off x="2794162" y="5001456"/>
            <a:ext cx="779356" cy="415973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" name="Rounded Rectangle 35"/>
          <p:cNvSpPr/>
          <p:nvPr/>
        </p:nvSpPr>
        <p:spPr>
          <a:xfrm rot="10800000" flipH="1">
            <a:off x="4920835" y="768937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" name="Rounded Rectangle 36"/>
          <p:cNvSpPr/>
          <p:nvPr/>
        </p:nvSpPr>
        <p:spPr>
          <a:xfrm rot="10800000" flipH="1">
            <a:off x="5391889" y="1298873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Rounded Rectangle 37"/>
          <p:cNvSpPr/>
          <p:nvPr userDrawn="1"/>
        </p:nvSpPr>
        <p:spPr>
          <a:xfrm rot="10800000" flipH="1">
            <a:off x="341314" y="5031567"/>
            <a:ext cx="780312" cy="248966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Rounded Rectangle 38"/>
          <p:cNvSpPr/>
          <p:nvPr/>
        </p:nvSpPr>
        <p:spPr>
          <a:xfrm rot="10800000" flipH="1">
            <a:off x="8038251" y="6238704"/>
            <a:ext cx="780312" cy="2489662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1" name="Rounded Rectangle 40"/>
          <p:cNvSpPr/>
          <p:nvPr/>
        </p:nvSpPr>
        <p:spPr>
          <a:xfrm rot="10800000" flipH="1">
            <a:off x="8162250" y="1298873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" name="Rounded Rectangle 41"/>
          <p:cNvSpPr/>
          <p:nvPr/>
        </p:nvSpPr>
        <p:spPr>
          <a:xfrm rot="10800000" flipH="1">
            <a:off x="3770907" y="1485910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0" y="1789"/>
            <a:ext cx="9129008" cy="4783736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1" y="4908959"/>
            <a:ext cx="9129008" cy="234551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61"/>
            <a:ext cx="8112126" cy="288131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15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936182"/>
            <a:ext cx="8112125" cy="2180429"/>
          </a:xfrm>
        </p:spPr>
        <p:txBody>
          <a:bodyPr/>
          <a:lstStyle>
            <a:lvl1pPr algn="l" defTabSz="6857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grpSp>
        <p:nvGrpSpPr>
          <p:cNvPr id="91" name="Group 67"/>
          <p:cNvGrpSpPr/>
          <p:nvPr userDrawn="1"/>
        </p:nvGrpSpPr>
        <p:grpSpPr>
          <a:xfrm>
            <a:off x="341813" y="226414"/>
            <a:ext cx="630141" cy="335858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92" name="Rectangle 9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5" name="Freeform 94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</p:grpSp>
      <p:sp>
        <p:nvSpPr>
          <p:cNvPr id="56" name="Rectangle 4"/>
          <p:cNvSpPr>
            <a:spLocks noChangeArrowheads="1"/>
          </p:cNvSpPr>
          <p:nvPr userDrawn="1"/>
        </p:nvSpPr>
        <p:spPr bwMode="ltGray">
          <a:xfrm>
            <a:off x="265680" y="4932003"/>
            <a:ext cx="3420515" cy="139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3" tIns="30791" rIns="61583" bIns="30791" anchor="b" anchorCtr="0">
            <a:spAutoFit/>
          </a:bodyPr>
          <a:lstStyle/>
          <a:p>
            <a:pPr defTabSz="610719"/>
            <a:r>
              <a:rPr lang="en-US" sz="5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7" name="Rectangle 5"/>
          <p:cNvSpPr>
            <a:spLocks noChangeArrowheads="1"/>
          </p:cNvSpPr>
          <p:nvPr userDrawn="1"/>
        </p:nvSpPr>
        <p:spPr bwMode="ltGray">
          <a:xfrm>
            <a:off x="7934510" y="4930701"/>
            <a:ext cx="641149" cy="139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9"/>
            <a:r>
              <a:rPr lang="en-US" sz="5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8" name="Rectangle 7"/>
          <p:cNvSpPr>
            <a:spLocks noChangeArrowheads="1"/>
          </p:cNvSpPr>
          <p:nvPr userDrawn="1"/>
        </p:nvSpPr>
        <p:spPr bwMode="ltGray">
          <a:xfrm>
            <a:off x="8678636" y="4927623"/>
            <a:ext cx="202734" cy="1391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9"/>
            <a:fld id="{DFCF27A5-1A5B-48D3-A060-2758FFBB1ADD}" type="slidenum">
              <a:rPr lang="en-US" sz="500">
                <a:solidFill>
                  <a:srgbClr val="C0C0C0"/>
                </a:solidFill>
                <a:latin typeface="Arial"/>
              </a:rPr>
              <a:pPr algn="r" defTabSz="610719"/>
              <a:t>‹#›</a:t>
            </a:fld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0" hasCustomPrompt="1"/>
          </p:nvPr>
        </p:nvSpPr>
        <p:spPr>
          <a:xfrm>
            <a:off x="235806" y="3589445"/>
            <a:ext cx="8110268" cy="296466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1" hasCustomPrompt="1"/>
          </p:nvPr>
        </p:nvSpPr>
        <p:spPr>
          <a:xfrm>
            <a:off x="235805" y="3955258"/>
            <a:ext cx="8124560" cy="300038"/>
          </a:xfrm>
        </p:spPr>
        <p:txBody>
          <a:bodyPr/>
          <a:lstStyle>
            <a:lvl1pPr marL="0" indent="0"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12882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grpId="0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6" grpId="0" animBg="1"/>
      <p:bldP spid="45" grpId="0" animBg="1"/>
      <p:bldP spid="33" grpId="0" animBg="1"/>
      <p:bldP spid="28" grpId="0" animBg="1"/>
      <p:bldP spid="29" grpId="0" animBg="1"/>
      <p:bldP spid="30" grpId="0" animBg="1"/>
      <p:bldP spid="31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1" grpId="0" animBg="1"/>
      <p:bldP spid="42" grpId="0" animBg="1"/>
    </p:bld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84"/>
          <p:cNvSpPr/>
          <p:nvPr/>
        </p:nvSpPr>
        <p:spPr>
          <a:xfrm>
            <a:off x="0" y="1789"/>
            <a:ext cx="9129008" cy="4783736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1" y="4908959"/>
            <a:ext cx="9129008" cy="234551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61"/>
            <a:ext cx="8112126" cy="288131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15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936182"/>
            <a:ext cx="8112125" cy="2180429"/>
          </a:xfrm>
        </p:spPr>
        <p:txBody>
          <a:bodyPr/>
          <a:lstStyle>
            <a:lvl1pPr algn="l" defTabSz="6857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grpSp>
        <p:nvGrpSpPr>
          <p:cNvPr id="2" name="Group 67"/>
          <p:cNvGrpSpPr/>
          <p:nvPr userDrawn="1"/>
        </p:nvGrpSpPr>
        <p:grpSpPr>
          <a:xfrm>
            <a:off x="341813" y="226414"/>
            <a:ext cx="630141" cy="335858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92" name="Rectangle 9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5" name="Freeform 94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</p:grpSp>
      <p:sp>
        <p:nvSpPr>
          <p:cNvPr id="56" name="Rectangle 4"/>
          <p:cNvSpPr>
            <a:spLocks noChangeArrowheads="1"/>
          </p:cNvSpPr>
          <p:nvPr userDrawn="1"/>
        </p:nvSpPr>
        <p:spPr bwMode="ltGray">
          <a:xfrm>
            <a:off x="265680" y="4932003"/>
            <a:ext cx="3420515" cy="139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3" tIns="30791" rIns="61583" bIns="30791" anchor="b" anchorCtr="0">
            <a:spAutoFit/>
          </a:bodyPr>
          <a:lstStyle/>
          <a:p>
            <a:pPr defTabSz="610719"/>
            <a:r>
              <a:rPr lang="en-US" sz="5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7" name="Rectangle 5"/>
          <p:cNvSpPr>
            <a:spLocks noChangeArrowheads="1"/>
          </p:cNvSpPr>
          <p:nvPr userDrawn="1"/>
        </p:nvSpPr>
        <p:spPr bwMode="ltGray">
          <a:xfrm>
            <a:off x="7934510" y="4930701"/>
            <a:ext cx="641149" cy="139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9"/>
            <a:r>
              <a:rPr lang="en-US" sz="5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8" name="Rectangle 7"/>
          <p:cNvSpPr>
            <a:spLocks noChangeArrowheads="1"/>
          </p:cNvSpPr>
          <p:nvPr userDrawn="1"/>
        </p:nvSpPr>
        <p:spPr bwMode="ltGray">
          <a:xfrm>
            <a:off x="8678636" y="4927623"/>
            <a:ext cx="202734" cy="1391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9"/>
            <a:fld id="{DFCF27A5-1A5B-48D3-A060-2758FFBB1ADD}" type="slidenum">
              <a:rPr lang="en-US" sz="500">
                <a:solidFill>
                  <a:srgbClr val="C0C0C0"/>
                </a:solidFill>
                <a:latin typeface="Arial"/>
              </a:rPr>
              <a:pPr algn="r" defTabSz="610719"/>
              <a:t>‹#›</a:t>
            </a:fld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0" hasCustomPrompt="1"/>
          </p:nvPr>
        </p:nvSpPr>
        <p:spPr>
          <a:xfrm>
            <a:off x="235806" y="3589445"/>
            <a:ext cx="8110268" cy="296466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1" hasCustomPrompt="1"/>
          </p:nvPr>
        </p:nvSpPr>
        <p:spPr>
          <a:xfrm>
            <a:off x="235805" y="3955258"/>
            <a:ext cx="8124560" cy="300038"/>
          </a:xfrm>
        </p:spPr>
        <p:txBody>
          <a:bodyPr/>
          <a:lstStyle>
            <a:lvl1pPr marL="0" indent="0"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394473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679957"/>
            <a:ext cx="9144000" cy="42275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Round Same Side Corner Rectangle 27"/>
          <p:cNvSpPr/>
          <p:nvPr userDrawn="1"/>
        </p:nvSpPr>
        <p:spPr>
          <a:xfrm rot="10800000">
            <a:off x="7440118" y="694941"/>
            <a:ext cx="932840" cy="198294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Round Same Side Corner Rectangle 29"/>
          <p:cNvSpPr/>
          <p:nvPr userDrawn="1"/>
        </p:nvSpPr>
        <p:spPr>
          <a:xfrm rot="10800000">
            <a:off x="8114529" y="694940"/>
            <a:ext cx="932839" cy="10740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alpha val="8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 userDrawn="1"/>
        </p:nvSpPr>
        <p:spPr>
          <a:xfrm>
            <a:off x="7512305" y="3115609"/>
            <a:ext cx="860654" cy="1388660"/>
          </a:xfrm>
          <a:prstGeom prst="roundRect">
            <a:avLst>
              <a:gd name="adj" fmla="val 50000"/>
            </a:avLst>
          </a:prstGeom>
          <a:solidFill>
            <a:srgbClr val="0096D6">
              <a:alpha val="8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Round Same Side Corner Rectangle 15"/>
          <p:cNvSpPr/>
          <p:nvPr userDrawn="1"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Text Placeholder 20"/>
          <p:cNvSpPr>
            <a:spLocks noGrp="1" noChangeAspect="1"/>
          </p:cNvSpPr>
          <p:nvPr userDrawn="1">
            <p:ph type="body" sz="quarter" idx="17"/>
          </p:nvPr>
        </p:nvSpPr>
        <p:spPr>
          <a:xfrm>
            <a:off x="210989" y="54597"/>
            <a:ext cx="2670048" cy="681265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0" i="0" u="none" strike="noStrike" kern="1200" cap="none" spc="-100" normalizeH="0" baseline="0" noProof="0" dirty="0" smtClean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  <a:lvl2pPr>
              <a:defRPr sz="1600"/>
            </a:lvl2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Second level</a:t>
            </a:r>
          </a:p>
        </p:txBody>
      </p:sp>
      <p:sp>
        <p:nvSpPr>
          <p:cNvPr id="22" name="Text Placeholder 20"/>
          <p:cNvSpPr>
            <a:spLocks noGrp="1"/>
          </p:cNvSpPr>
          <p:nvPr userDrawn="1">
            <p:ph type="body" sz="quarter" idx="18"/>
          </p:nvPr>
        </p:nvSpPr>
        <p:spPr>
          <a:xfrm>
            <a:off x="3246797" y="54597"/>
            <a:ext cx="2670048" cy="681265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0" i="0" u="none" strike="noStrike" kern="1200" cap="none" spc="-100" normalizeH="0" baseline="0" noProof="0" dirty="0" smtClean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  <a:lvl2pPr>
              <a:defRPr sz="1600"/>
            </a:lvl2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Second level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 userDrawn="1">
            <p:ph type="body" sz="quarter" idx="19"/>
          </p:nvPr>
        </p:nvSpPr>
        <p:spPr>
          <a:xfrm>
            <a:off x="6264835" y="54597"/>
            <a:ext cx="2670048" cy="681265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0" i="0" u="none" strike="noStrike" kern="1200" cap="none" spc="-100" normalizeH="0" baseline="0" noProof="0" dirty="0" smtClean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  <a:lvl2pPr>
              <a:defRPr sz="1600"/>
            </a:lvl2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Second level</a:t>
            </a:r>
          </a:p>
        </p:txBody>
      </p:sp>
      <p:sp>
        <p:nvSpPr>
          <p:cNvPr id="17" name="Rectangle 4"/>
          <p:cNvSpPr>
            <a:spLocks noChangeArrowheads="1"/>
          </p:cNvSpPr>
          <p:nvPr userDrawn="1"/>
        </p:nvSpPr>
        <p:spPr bwMode="ltGray">
          <a:xfrm>
            <a:off x="251376" y="4931497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18" name="Rectangle 5"/>
          <p:cNvSpPr>
            <a:spLocks noChangeArrowheads="1"/>
          </p:cNvSpPr>
          <p:nvPr userDrawn="1"/>
        </p:nvSpPr>
        <p:spPr bwMode="ltGray">
          <a:xfrm>
            <a:off x="7832457" y="4930196"/>
            <a:ext cx="743196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</a:t>
            </a:r>
            <a:r>
              <a:rPr lang="en-US" sz="600" dirty="0" err="1" smtClean="0">
                <a:solidFill>
                  <a:srgbClr val="C0C0C0"/>
                </a:solidFill>
                <a:latin typeface="Arial"/>
              </a:rPr>
              <a:t>Confidntial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8640522" y="4927118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20" name="Rectangle 19"/>
          <p:cNvSpPr/>
          <p:nvPr userDrawn="1"/>
        </p:nvSpPr>
        <p:spPr>
          <a:xfrm rot="5400000">
            <a:off x="1179949" y="2739111"/>
            <a:ext cx="3771900" cy="72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6000">
                <a:srgbClr val="008851"/>
              </a:gs>
              <a:gs pos="21000">
                <a:srgbClr val="01BBBB"/>
              </a:gs>
              <a:gs pos="100000">
                <a:schemeClr val="accent4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IN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22"/>
          <p:cNvSpPr/>
          <p:nvPr userDrawn="1"/>
        </p:nvSpPr>
        <p:spPr>
          <a:xfrm rot="5400000">
            <a:off x="4217974" y="2739111"/>
            <a:ext cx="3771900" cy="72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6000">
                <a:srgbClr val="008851"/>
              </a:gs>
              <a:gs pos="21000">
                <a:srgbClr val="01BBBB"/>
              </a:gs>
              <a:gs pos="100000">
                <a:schemeClr val="accent4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IN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Text Placeholder 12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36008" y="861063"/>
            <a:ext cx="2622550" cy="3293269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itchFamily="34" charset="0"/>
              <a:buChar char="•"/>
              <a:tabLst/>
              <a:defRPr kumimoji="0" lang="en-US" sz="1800" b="0" i="0" u="none" strike="noStrike" kern="1200" cap="none" spc="0" normalizeH="0" baseline="0" noProof="0"/>
            </a:lvl1pPr>
            <a:lvl2pPr>
              <a:defRPr>
                <a:latin typeface="+mj-lt"/>
                <a:cs typeface="Arial" pitchFamily="34" charset="0"/>
              </a:defRPr>
            </a:lvl2pPr>
            <a:lvl3pPr>
              <a:defRPr>
                <a:latin typeface="+mj-lt"/>
                <a:cs typeface="Arial" pitchFamily="34" charset="0"/>
              </a:defRPr>
            </a:lvl3pPr>
            <a:lvl4pPr>
              <a:defRPr>
                <a:latin typeface="+mj-lt"/>
                <a:cs typeface="Arial" pitchFamily="34" charset="0"/>
              </a:defRPr>
            </a:lvl4pPr>
            <a:lvl5pPr>
              <a:defRPr>
                <a:latin typeface="+mj-lt"/>
                <a:cs typeface="Arial" pitchFamily="34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srgbClr val="54656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ample text placed here to see how each level of information will be displayed in the final template</a:t>
            </a:r>
          </a:p>
          <a:p>
            <a:pPr marL="228600" marR="0" lvl="0" indent="-228600" algn="l" defTabSz="914400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srgbClr val="54656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f you want to colorize the text, you can select a new color from the palette to fill it with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546568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6" name="Text Placeholder 12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3260347" y="861063"/>
            <a:ext cx="2622550" cy="3293269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•"/>
              <a:tabLst/>
              <a:defRPr kumimoji="0" lang="en-US" sz="1800" b="0" i="0" u="none" strike="noStrike" kern="1200" cap="none" spc="0" normalizeH="0" baseline="0" noProof="0"/>
            </a:lvl1pPr>
            <a:lvl2pPr>
              <a:defRPr>
                <a:latin typeface="+mj-lt"/>
                <a:cs typeface="Arial" pitchFamily="34" charset="0"/>
              </a:defRPr>
            </a:lvl2pPr>
            <a:lvl3pPr>
              <a:defRPr>
                <a:latin typeface="+mj-lt"/>
                <a:cs typeface="Arial" pitchFamily="34" charset="0"/>
              </a:defRPr>
            </a:lvl3pPr>
            <a:lvl4pPr>
              <a:defRPr>
                <a:latin typeface="+mj-lt"/>
                <a:cs typeface="Arial" pitchFamily="34" charset="0"/>
              </a:defRPr>
            </a:lvl4pPr>
            <a:lvl5pPr>
              <a:defRPr>
                <a:latin typeface="+mj-lt"/>
                <a:cs typeface="Arial" pitchFamily="34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srgbClr val="54656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ample text placed here to see how each level of information will be displayed in the final template</a:t>
            </a:r>
          </a:p>
          <a:p>
            <a:pPr marL="228600" marR="0" lvl="0" indent="-228600" algn="l" defTabSz="914400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srgbClr val="54656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f you want to colorize the text, you can select a new color from the palette to fill it with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546568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7" name="Text Placeholder 12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6284686" y="861063"/>
            <a:ext cx="2622550" cy="3293269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•"/>
              <a:tabLst/>
              <a:defRPr kumimoji="0" lang="en-US" sz="1800" b="0" i="0" u="none" strike="noStrike" kern="1200" cap="none" spc="0" normalizeH="0" baseline="0" noProof="0"/>
            </a:lvl1pPr>
            <a:lvl2pPr>
              <a:defRPr>
                <a:latin typeface="+mj-lt"/>
                <a:cs typeface="Arial" pitchFamily="34" charset="0"/>
              </a:defRPr>
            </a:lvl2pPr>
            <a:lvl3pPr>
              <a:defRPr>
                <a:latin typeface="+mj-lt"/>
                <a:cs typeface="Arial" pitchFamily="34" charset="0"/>
              </a:defRPr>
            </a:lvl3pPr>
            <a:lvl4pPr>
              <a:defRPr>
                <a:latin typeface="+mj-lt"/>
                <a:cs typeface="Arial" pitchFamily="34" charset="0"/>
              </a:defRPr>
            </a:lvl4pPr>
            <a:lvl5pPr>
              <a:defRPr>
                <a:latin typeface="+mj-lt"/>
                <a:cs typeface="Arial" pitchFamily="34" charset="0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srgbClr val="54656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ample text placed here to see how each level of information will be displayed in the final template</a:t>
            </a:r>
          </a:p>
          <a:p>
            <a:pPr marL="228600" marR="0" lvl="0" indent="-228600" algn="l" defTabSz="914400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srgbClr val="54656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f you want to colorize the text, you can select a new color from the palette to fill it with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546568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326678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29" name="Rounded Rectangle 28"/>
          <p:cNvSpPr/>
          <p:nvPr/>
        </p:nvSpPr>
        <p:spPr>
          <a:xfrm>
            <a:off x="1823499" y="-2677944"/>
            <a:ext cx="1729740" cy="1051063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0" y="-478290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 rot="10800000">
            <a:off x="1013792" y="3186456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Rounded Rectangle 31"/>
          <p:cNvSpPr/>
          <p:nvPr userDrawn="1"/>
        </p:nvSpPr>
        <p:spPr>
          <a:xfrm>
            <a:off x="6585484" y="-2184960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 userDrawn="1"/>
        </p:nvSpPr>
        <p:spPr>
          <a:xfrm>
            <a:off x="8105452" y="4274406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Rounded Rectangle 33"/>
          <p:cNvSpPr/>
          <p:nvPr/>
        </p:nvSpPr>
        <p:spPr>
          <a:xfrm rot="10800000">
            <a:off x="3036073" y="1137139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927520"/>
            <a:ext cx="8112125" cy="2189084"/>
          </a:xfrm>
        </p:spPr>
        <p:txBody>
          <a:bodyPr/>
          <a:lstStyle>
            <a:lvl1pPr>
              <a:lnSpc>
                <a:spcPct val="90000"/>
              </a:lnSpc>
              <a:defRPr sz="45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62"/>
            <a:ext cx="8112126" cy="288131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  <a:latin typeface="+mj-l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58" name="Rectangle 5"/>
          <p:cNvSpPr>
            <a:spLocks noChangeArrowheads="1"/>
          </p:cNvSpPr>
          <p:nvPr/>
        </p:nvSpPr>
        <p:spPr bwMode="ltGray">
          <a:xfrm>
            <a:off x="7934510" y="4930701"/>
            <a:ext cx="641149" cy="139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9"/>
            <a:r>
              <a:rPr lang="en-US" sz="5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grpSp>
        <p:nvGrpSpPr>
          <p:cNvPr id="53" name="Group 5"/>
          <p:cNvGrpSpPr>
            <a:grpSpLocks/>
          </p:cNvGrpSpPr>
          <p:nvPr userDrawn="1"/>
        </p:nvGrpSpPr>
        <p:grpSpPr bwMode="auto">
          <a:xfrm>
            <a:off x="341800" y="228602"/>
            <a:ext cx="631526" cy="335757"/>
            <a:chOff x="384" y="331"/>
            <a:chExt cx="912" cy="485"/>
          </a:xfrm>
        </p:grpSpPr>
        <p:sp>
          <p:nvSpPr>
            <p:cNvPr id="54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8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9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0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1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2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3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4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sp>
        <p:nvSpPr>
          <p:cNvPr id="37" name="Rectangle 4"/>
          <p:cNvSpPr>
            <a:spLocks noChangeArrowheads="1"/>
          </p:cNvSpPr>
          <p:nvPr userDrawn="1"/>
        </p:nvSpPr>
        <p:spPr bwMode="ltGray">
          <a:xfrm>
            <a:off x="265680" y="4932003"/>
            <a:ext cx="3420515" cy="139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3" tIns="30791" rIns="61583" bIns="30791" anchor="b" anchorCtr="0">
            <a:spAutoFit/>
          </a:bodyPr>
          <a:lstStyle/>
          <a:p>
            <a:pPr defTabSz="610719"/>
            <a:r>
              <a:rPr lang="en-US" sz="500" dirty="0" smtClean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8678636" y="4927623"/>
            <a:ext cx="202734" cy="1391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9"/>
            <a:fld id="{DFCF27A5-1A5B-48D3-A060-2758FFBB1ADD}" type="slidenum">
              <a:rPr lang="en-US" sz="500">
                <a:solidFill>
                  <a:srgbClr val="FFFFFF"/>
                </a:solidFill>
                <a:latin typeface="Arial"/>
              </a:rPr>
              <a:pPr algn="r" defTabSz="610719"/>
              <a:t>‹#›</a:t>
            </a:fld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35805" y="3587078"/>
            <a:ext cx="8112650" cy="288131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35805" y="3954949"/>
            <a:ext cx="8112650" cy="288131"/>
          </a:xfrm>
        </p:spPr>
        <p:txBody>
          <a:bodyPr/>
          <a:lstStyle>
            <a:lvl1pPr marL="0" indent="0"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53713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grpSp>
        <p:nvGrpSpPr>
          <p:cNvPr id="46" name="Group 45"/>
          <p:cNvGrpSpPr/>
          <p:nvPr userDrawn="1"/>
        </p:nvGrpSpPr>
        <p:grpSpPr>
          <a:xfrm>
            <a:off x="10" y="-1542022"/>
            <a:ext cx="9835191" cy="14534360"/>
            <a:chOff x="0" y="-2056029"/>
            <a:chExt cx="13110173" cy="19379146"/>
          </a:xfrm>
        </p:grpSpPr>
        <p:sp>
          <p:nvSpPr>
            <p:cNvPr id="36" name="Rounded Rectangle 35"/>
            <p:cNvSpPr/>
            <p:nvPr userDrawn="1"/>
          </p:nvSpPr>
          <p:spPr>
            <a:xfrm>
              <a:off x="2430699" y="3308943"/>
              <a:ext cx="2305719" cy="140141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20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0" name="Rounded Rectangle 39"/>
            <p:cNvSpPr/>
            <p:nvPr userDrawn="1"/>
          </p:nvSpPr>
          <p:spPr>
            <a:xfrm>
              <a:off x="0" y="1236689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20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2" name="Rounded Rectangle 41"/>
            <p:cNvSpPr/>
            <p:nvPr userDrawn="1"/>
          </p:nvSpPr>
          <p:spPr>
            <a:xfrm rot="10800000">
              <a:off x="1351370" y="4248605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20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3" name="Rounded Rectangle 42"/>
            <p:cNvSpPr/>
            <p:nvPr userDrawn="1"/>
          </p:nvSpPr>
          <p:spPr>
            <a:xfrm>
              <a:off x="8778358" y="-2056029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20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4" name="Rounded Rectangle 43"/>
            <p:cNvSpPr/>
            <p:nvPr userDrawn="1"/>
          </p:nvSpPr>
          <p:spPr>
            <a:xfrm>
              <a:off x="10804454" y="2783785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20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5" name="Rounded Rectangle 44"/>
            <p:cNvSpPr/>
            <p:nvPr userDrawn="1"/>
          </p:nvSpPr>
          <p:spPr>
            <a:xfrm rot="10800000">
              <a:off x="4047043" y="174390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20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927520"/>
            <a:ext cx="8112125" cy="2189084"/>
          </a:xfrm>
        </p:spPr>
        <p:txBody>
          <a:bodyPr/>
          <a:lstStyle>
            <a:lvl1pPr>
              <a:lnSpc>
                <a:spcPct val="90000"/>
              </a:lnSpc>
              <a:defRPr sz="45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62"/>
            <a:ext cx="8112126" cy="288131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  <a:latin typeface="+mj-l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58" name="Rectangle 5"/>
          <p:cNvSpPr>
            <a:spLocks noChangeArrowheads="1"/>
          </p:cNvSpPr>
          <p:nvPr/>
        </p:nvSpPr>
        <p:spPr bwMode="ltGray">
          <a:xfrm>
            <a:off x="7934510" y="4930701"/>
            <a:ext cx="641149" cy="139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9"/>
            <a:r>
              <a:rPr lang="en-US" sz="5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grpSp>
        <p:nvGrpSpPr>
          <p:cNvPr id="4" name="Group 5"/>
          <p:cNvGrpSpPr>
            <a:grpSpLocks/>
          </p:cNvGrpSpPr>
          <p:nvPr userDrawn="1"/>
        </p:nvGrpSpPr>
        <p:grpSpPr bwMode="auto">
          <a:xfrm>
            <a:off x="341800" y="228602"/>
            <a:ext cx="631526" cy="335757"/>
            <a:chOff x="384" y="331"/>
            <a:chExt cx="912" cy="485"/>
          </a:xfrm>
        </p:grpSpPr>
        <p:sp>
          <p:nvSpPr>
            <p:cNvPr id="54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8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9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0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1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2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3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4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sp>
        <p:nvSpPr>
          <p:cNvPr id="37" name="Rectangle 4"/>
          <p:cNvSpPr>
            <a:spLocks noChangeArrowheads="1"/>
          </p:cNvSpPr>
          <p:nvPr userDrawn="1"/>
        </p:nvSpPr>
        <p:spPr bwMode="ltGray">
          <a:xfrm>
            <a:off x="265680" y="4932003"/>
            <a:ext cx="3420515" cy="139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3" tIns="30791" rIns="61583" bIns="30791" anchor="b" anchorCtr="0">
            <a:spAutoFit/>
          </a:bodyPr>
          <a:lstStyle/>
          <a:p>
            <a:pPr defTabSz="610719"/>
            <a:r>
              <a:rPr lang="en-US" sz="500" dirty="0" smtClean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8678636" y="4927623"/>
            <a:ext cx="202734" cy="1391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9"/>
            <a:fld id="{DFCF27A5-1A5B-48D3-A060-2758FFBB1ADD}" type="slidenum">
              <a:rPr lang="en-US" sz="500">
                <a:solidFill>
                  <a:srgbClr val="FFFFFF"/>
                </a:solidFill>
                <a:latin typeface="Arial"/>
              </a:rPr>
              <a:pPr algn="r" defTabSz="610719"/>
              <a:t>‹#›</a:t>
            </a:fld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35805" y="3587078"/>
            <a:ext cx="8112650" cy="288131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35805" y="3954949"/>
            <a:ext cx="8112650" cy="288131"/>
          </a:xfrm>
        </p:spPr>
        <p:txBody>
          <a:bodyPr/>
          <a:lstStyle>
            <a:lvl1pPr marL="0" indent="0"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95237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egue textur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3375" y="2330055"/>
            <a:ext cx="8477250" cy="2578894"/>
          </a:xfrm>
          <a:prstGeom prst="rect">
            <a:avLst/>
          </a:prstGeom>
        </p:spPr>
      </p:pic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71" tIns="34286" rIns="68571" bIns="34286" anchor="ctr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71" tIns="34286" rIns="68571" bIns="34286" anchor="ctr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pic>
        <p:nvPicPr>
          <p:cNvPr id="16" name="Picture 15" descr="segue texture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3375" y="4786092"/>
            <a:ext cx="8477250" cy="122856"/>
          </a:xfrm>
          <a:prstGeom prst="rect">
            <a:avLst/>
          </a:prstGeom>
        </p:spPr>
      </p:pic>
      <p:sp>
        <p:nvSpPr>
          <p:cNvPr id="31" name="Rectangle 30"/>
          <p:cNvSpPr/>
          <p:nvPr userDrawn="1"/>
        </p:nvSpPr>
        <p:spPr>
          <a:xfrm>
            <a:off x="217366" y="2267175"/>
            <a:ext cx="8694295" cy="2518348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312841"/>
            <a:ext cx="8112125" cy="1805282"/>
          </a:xfrm>
        </p:spPr>
        <p:txBody>
          <a:bodyPr/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6664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9" dur="16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2" grpId="0"/>
    </p:bld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egue textur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3375" y="2330055"/>
            <a:ext cx="8477250" cy="2578894"/>
          </a:xfrm>
          <a:prstGeom prst="rect">
            <a:avLst/>
          </a:prstGeom>
        </p:spPr>
      </p:pic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71" tIns="34286" rIns="68571" bIns="34286" anchor="ctr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71" tIns="34286" rIns="68571" bIns="34286" anchor="ctr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217366" y="2267185"/>
            <a:ext cx="8694295" cy="1290413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1330906"/>
            <a:ext cx="8112125" cy="1805282"/>
          </a:xfrm>
        </p:spPr>
        <p:txBody>
          <a:bodyPr/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22115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6" y="324161"/>
            <a:ext cx="8580923" cy="628650"/>
          </a:xfrm>
        </p:spPr>
        <p:txBody>
          <a:bodyPr/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3232" y="1008126"/>
            <a:ext cx="8570912" cy="3723894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110"/>
              </a:spcBef>
              <a:buClr>
                <a:srgbClr val="96CA4B"/>
              </a:buClr>
              <a:tabLst/>
              <a:defRPr sz="17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450"/>
              </a:spcBef>
              <a:tabLst/>
              <a:defRPr>
                <a:solidFill>
                  <a:schemeClr val="bg1"/>
                </a:solidFill>
                <a:latin typeface="+mj-lt"/>
              </a:defRPr>
            </a:lvl2pPr>
            <a:lvl3pPr>
              <a:tabLst/>
              <a:defRPr>
                <a:solidFill>
                  <a:schemeClr val="bg1"/>
                </a:solidFill>
                <a:latin typeface="+mj-lt"/>
              </a:defRPr>
            </a:lvl3pPr>
            <a:lvl4pPr>
              <a:tabLst/>
              <a:defRPr>
                <a:solidFill>
                  <a:schemeClr val="bg1"/>
                </a:solidFill>
                <a:latin typeface="+mj-lt"/>
              </a:defRPr>
            </a:lvl4pPr>
            <a:lvl5pPr>
              <a:tabLst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79693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9702" y="1004810"/>
            <a:ext cx="4021116" cy="3724275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110"/>
              </a:spcBef>
              <a:defRPr sz="1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450"/>
              </a:spcBef>
              <a:defRPr sz="1100">
                <a:solidFill>
                  <a:schemeClr val="bg1"/>
                </a:solidFill>
                <a:latin typeface="+mj-lt"/>
              </a:defRPr>
            </a:lvl2pPr>
            <a:lvl3pPr>
              <a:defRPr sz="900">
                <a:solidFill>
                  <a:schemeClr val="bg1"/>
                </a:solidFill>
                <a:latin typeface="+mj-lt"/>
              </a:defRPr>
            </a:lvl3pPr>
            <a:lvl4pPr>
              <a:defRPr sz="800">
                <a:solidFill>
                  <a:schemeClr val="bg1"/>
                </a:solidFill>
                <a:latin typeface="+mj-lt"/>
              </a:defRPr>
            </a:lvl4pPr>
            <a:lvl5pPr>
              <a:defRPr sz="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88185" y="1004810"/>
            <a:ext cx="4222440" cy="3724275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110"/>
              </a:spcBef>
              <a:defRPr sz="1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450"/>
              </a:spcBef>
              <a:defRPr sz="1100">
                <a:solidFill>
                  <a:schemeClr val="bg1"/>
                </a:solidFill>
                <a:latin typeface="+mj-lt"/>
              </a:defRPr>
            </a:lvl2pPr>
            <a:lvl3pPr>
              <a:defRPr sz="900">
                <a:solidFill>
                  <a:schemeClr val="bg1"/>
                </a:solidFill>
                <a:latin typeface="+mj-lt"/>
              </a:defRPr>
            </a:lvl3pPr>
            <a:lvl4pPr>
              <a:defRPr sz="800">
                <a:solidFill>
                  <a:schemeClr val="bg1"/>
                </a:solidFill>
                <a:latin typeface="+mj-lt"/>
              </a:defRPr>
            </a:lvl4pPr>
            <a:lvl5pPr>
              <a:defRPr sz="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29716" y="324161"/>
            <a:ext cx="8580923" cy="628650"/>
          </a:xfrm>
        </p:spPr>
        <p:txBody>
          <a:bodyPr/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32187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5" y="324161"/>
            <a:ext cx="8580923" cy="628650"/>
          </a:xfrm>
        </p:spPr>
        <p:txBody>
          <a:bodyPr/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27" y="1004810"/>
            <a:ext cx="4011105" cy="3724275"/>
          </a:xfrm>
        </p:spPr>
        <p:txBody>
          <a:bodyPr/>
          <a:lstStyle>
            <a:lvl1pPr>
              <a:lnSpc>
                <a:spcPct val="95000"/>
              </a:lnSpc>
              <a:spcBef>
                <a:spcPts val="1110"/>
              </a:spcBef>
              <a:defRPr sz="17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45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221224" y="1310764"/>
            <a:ext cx="3236976" cy="484748"/>
          </a:xfrm>
        </p:spPr>
        <p:txBody>
          <a:bodyPr>
            <a:noAutofit/>
          </a:bodyPr>
          <a:lstStyle>
            <a:lvl1pPr marL="85718" indent="-85718"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“This is the sample </a:t>
            </a:r>
            <a:br>
              <a:rPr lang="en-US" dirty="0" smtClean="0"/>
            </a:br>
            <a:r>
              <a:rPr lang="en-US" dirty="0" smtClean="0"/>
              <a:t>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309484" y="3552444"/>
            <a:ext cx="3237819" cy="25374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Source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74960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0" y="324161"/>
            <a:ext cx="8588861" cy="628650"/>
          </a:xfrm>
        </p:spPr>
        <p:txBody>
          <a:bodyPr/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29374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226314"/>
            <a:ext cx="4123944" cy="628650"/>
          </a:xfrm>
          <a:ln>
            <a:solidFill>
              <a:schemeClr val="bg1">
                <a:lumMod val="50000"/>
              </a:schemeClr>
            </a:solidFill>
          </a:ln>
        </p:spPr>
        <p:txBody>
          <a:bodyPr vert="horz" lIns="61712" tIns="34286" rIns="61712" bIns="34286" rtlCol="0" anchor="t" anchorCtr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19455" y="1200150"/>
            <a:ext cx="4142232" cy="339471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476194" indent="-171431">
              <a:buClr>
                <a:schemeClr val="accent5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818888" y="1200150"/>
            <a:ext cx="4005072" cy="339471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476194" indent="-171431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822438" y="233172"/>
            <a:ext cx="3896359" cy="630936"/>
          </a:xfrm>
          <a:ln>
            <a:solidFill>
              <a:schemeClr val="bg1">
                <a:lumMod val="50000"/>
              </a:schemeClr>
            </a:solidFill>
          </a:ln>
        </p:spPr>
        <p:txBody>
          <a:bodyPr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Righ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93799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6" y="1200155"/>
            <a:ext cx="2622550" cy="329326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89" y="1200151"/>
            <a:ext cx="2593975" cy="32718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9" y="1200151"/>
            <a:ext cx="2633662" cy="325040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19516" y="75438"/>
            <a:ext cx="2668457" cy="864108"/>
          </a:xfrm>
          <a:ln>
            <a:solidFill>
              <a:schemeClr val="bg1">
                <a:lumMod val="50000"/>
              </a:schemeClr>
            </a:solidFill>
          </a:ln>
        </p:spPr>
        <p:txBody>
          <a:bodyPr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3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258407" y="75438"/>
            <a:ext cx="2599859" cy="864108"/>
          </a:xfrm>
          <a:ln>
            <a:solidFill>
              <a:schemeClr val="bg1">
                <a:lumMod val="50000"/>
              </a:schemeClr>
            </a:solidFill>
          </a:ln>
        </p:spPr>
        <p:txBody>
          <a:bodyPr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3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6272202" y="75438"/>
            <a:ext cx="2634158" cy="864108"/>
          </a:xfrm>
          <a:ln>
            <a:solidFill>
              <a:schemeClr val="bg1">
                <a:lumMod val="50000"/>
              </a:schemeClr>
            </a:solidFill>
          </a:ln>
        </p:spPr>
        <p:txBody>
          <a:bodyPr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3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637520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79957"/>
            <a:ext cx="9144000" cy="42275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Round Same Side Corner Rectangle 5"/>
          <p:cNvSpPr/>
          <p:nvPr userDrawn="1"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51376" y="4931497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789664" y="4930196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40522" y="4927118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246973" y="35876"/>
            <a:ext cx="8685361" cy="62865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245533" y="855023"/>
            <a:ext cx="8686800" cy="3481233"/>
          </a:xfrm>
        </p:spPr>
        <p:txBody>
          <a:bodyPr anchor="ctr" anchorCtr="1"/>
          <a:lstStyle>
            <a:lvl1pPr>
              <a:buNone/>
              <a:defRPr>
                <a:latin typeface="+mj-l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5535" y="4546587"/>
            <a:ext cx="7465183" cy="218389"/>
          </a:xfrm>
        </p:spPr>
        <p:txBody>
          <a:bodyPr wrap="square" anchor="b" anchorCtr="0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40882448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246972" y="329783"/>
            <a:ext cx="8567244" cy="628650"/>
          </a:xfrm>
        </p:spPr>
        <p:txBody>
          <a:bodyPr/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72" y="1107281"/>
            <a:ext cx="8439461" cy="3228975"/>
          </a:xfrm>
        </p:spPr>
        <p:txBody>
          <a:bodyPr anchor="ctr" anchorCtr="1"/>
          <a:lstStyle>
            <a:lvl1pPr>
              <a:buNone/>
              <a:defRPr>
                <a:latin typeface="+mj-lt"/>
              </a:defRPr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7" y="4546597"/>
            <a:ext cx="7461250" cy="207749"/>
          </a:xfrm>
        </p:spPr>
        <p:txBody>
          <a:bodyPr wrap="square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9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3596024161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4072683"/>
            <a:ext cx="8558698" cy="628650"/>
          </a:xfrm>
        </p:spPr>
        <p:txBody>
          <a:bodyPr vert="horz" lIns="61712" tIns="34286" rIns="61712" bIns="34286" rtlCol="0" anchor="b" anchorCtr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6888" y="1200150"/>
            <a:ext cx="4005072" cy="2811780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180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Simple text goes here and can wrap to accommodate more lines of information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4873752" y="1460754"/>
            <a:ext cx="3429000" cy="2242566"/>
          </a:xfrm>
        </p:spPr>
        <p:txBody>
          <a:bodyPr anchor="ctr" anchorCtr="1"/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28689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4072683"/>
            <a:ext cx="8558698" cy="628650"/>
          </a:xfrm>
        </p:spPr>
        <p:txBody>
          <a:bodyPr vert="horz" lIns="61712" tIns="34286" rIns="61712" bIns="34286" rtlCol="0" anchor="b" anchorCtr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00022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5176" y="4389131"/>
            <a:ext cx="8112126" cy="288131"/>
          </a:xfrm>
        </p:spPr>
        <p:txBody>
          <a:bodyPr anchor="b" anchorCtr="0">
            <a:noAutofit/>
          </a:bodyPr>
          <a:lstStyle>
            <a:lvl1pPr marL="0" indent="0" algn="l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9464" y="486918"/>
            <a:ext cx="8112125" cy="3360420"/>
          </a:xfrm>
        </p:spPr>
        <p:txBody>
          <a:bodyPr/>
          <a:lstStyle>
            <a:lvl1pPr marL="175001" indent="-175001" algn="l" defTabSz="68572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55474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8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xmlns:p14="http://schemas.microsoft.com/office/powerpoint/2010/main" presetID="22" presetClass="entr" presetSubtype="4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4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1439066"/>
            <a:ext cx="4117446" cy="2265389"/>
          </a:xfrm>
        </p:spPr>
        <p:txBody>
          <a:bodyPr vert="horz" lIns="61712" tIns="34286" rIns="61712" bIns="34286" rtlCol="0" anchor="ctr" anchorCtr="0">
            <a:noAutofit/>
          </a:bodyPr>
          <a:lstStyle>
            <a:lvl1pPr marL="0" indent="0" algn="l" defTabSz="68572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233172"/>
            <a:ext cx="3895344" cy="4656582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1500" baseline="0">
                <a:solidFill>
                  <a:schemeClr val="bg1"/>
                </a:solidFill>
                <a:latin typeface="+mj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55853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97" y="3209555"/>
            <a:ext cx="4684867" cy="288131"/>
          </a:xfrm>
        </p:spPr>
        <p:txBody>
          <a:bodyPr vert="horz" lIns="68571" tIns="34286" rIns="68571" bIns="34286" rtlCol="0">
            <a:noAutofit/>
          </a:bodyPr>
          <a:lstStyle>
            <a:lvl1pPr marL="0" indent="0" algn="l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8708" y="2462028"/>
            <a:ext cx="4712557" cy="766763"/>
          </a:xfrm>
        </p:spPr>
        <p:txBody>
          <a:bodyPr vert="horz" lIns="61712" tIns="34286" rIns="61712" bIns="34286" rtlCol="0" anchor="b" anchorCtr="0">
            <a:noAutofit/>
          </a:bodyPr>
          <a:lstStyle>
            <a:lvl1pPr marL="0" indent="0" algn="l" defTabSz="68572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5540390" y="1438276"/>
            <a:ext cx="2676525" cy="2166938"/>
          </a:xfrm>
        </p:spPr>
        <p:txBody>
          <a:bodyPr anchor="ctr" anchorCtr="1"/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grpSp>
        <p:nvGrpSpPr>
          <p:cNvPr id="24" name="Group 67"/>
          <p:cNvGrpSpPr/>
          <p:nvPr userDrawn="1"/>
        </p:nvGrpSpPr>
        <p:grpSpPr>
          <a:xfrm>
            <a:off x="341800" y="226414"/>
            <a:ext cx="691030" cy="368312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25" name="Rectangle 24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20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430491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9" name="Rounded Rectangle 8"/>
          <p:cNvSpPr/>
          <p:nvPr userDrawn="1"/>
        </p:nvSpPr>
        <p:spPr>
          <a:xfrm>
            <a:off x="1823499" y="-2683566"/>
            <a:ext cx="1729740" cy="1051063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ounded Rectangle 9"/>
          <p:cNvSpPr/>
          <p:nvPr userDrawn="1"/>
        </p:nvSpPr>
        <p:spPr>
          <a:xfrm>
            <a:off x="0" y="-483912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ounded Rectangle 10"/>
          <p:cNvSpPr/>
          <p:nvPr userDrawn="1"/>
        </p:nvSpPr>
        <p:spPr>
          <a:xfrm rot="10800000">
            <a:off x="1013792" y="-483912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6375620" y="1283400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8105452" y="626175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Rounded Rectangle 13"/>
          <p:cNvSpPr/>
          <p:nvPr/>
        </p:nvSpPr>
        <p:spPr>
          <a:xfrm rot="10800000">
            <a:off x="3036073" y="-2533236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" y="363475"/>
            <a:ext cx="8755128" cy="3279098"/>
          </a:xfrm>
        </p:spPr>
        <p:txBody>
          <a:bodyPr anchor="b" anchorCtr="0"/>
          <a:lstStyle>
            <a:lvl1pPr marL="171431" indent="-171431">
              <a:buFont typeface="Arial" pitchFamily="34" charset="0"/>
              <a:buChar char="“"/>
              <a:defRPr sz="45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”</a:t>
            </a:r>
            <a:endParaRPr lang="en-US" dirty="0"/>
          </a:p>
        </p:txBody>
      </p:sp>
      <p:sp>
        <p:nvSpPr>
          <p:cNvPr id="28" name="Rectangle 5"/>
          <p:cNvSpPr>
            <a:spLocks noChangeArrowheads="1"/>
          </p:cNvSpPr>
          <p:nvPr/>
        </p:nvSpPr>
        <p:spPr bwMode="ltGray">
          <a:xfrm>
            <a:off x="7762667" y="4930701"/>
            <a:ext cx="812991" cy="139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3" tIns="30791" rIns="61583" bIns="30791" anchor="b">
            <a:spAutoFit/>
          </a:bodyPr>
          <a:lstStyle/>
          <a:p>
            <a:pPr algn="r" defTabSz="610719"/>
            <a:r>
              <a:rPr lang="en-US" sz="5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7762667" y="4930701"/>
            <a:ext cx="812991" cy="139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3" tIns="30791" rIns="61583" bIns="30791" anchor="b">
            <a:spAutoFit/>
          </a:bodyPr>
          <a:lstStyle/>
          <a:p>
            <a:pPr algn="r" defTabSz="610719"/>
            <a:r>
              <a:rPr lang="en-US" sz="5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01194" y="4019179"/>
            <a:ext cx="8574685" cy="460772"/>
          </a:xfrm>
        </p:spPr>
        <p:txBody>
          <a:bodyPr vert="horz" lIns="68571" tIns="34286" rIns="68571" bIns="34286" rtlCol="0">
            <a:noAutofit/>
          </a:bodyPr>
          <a:lstStyle>
            <a:lvl1pPr marL="0" indent="0">
              <a:buNone/>
              <a:defRPr lang="en-US" sz="1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ource</a:t>
            </a:r>
            <a:endParaRPr lang="en-US" dirty="0"/>
          </a:p>
        </p:txBody>
      </p:sp>
      <p:sp>
        <p:nvSpPr>
          <p:cNvPr id="18" name="Rectangle 4"/>
          <p:cNvSpPr>
            <a:spLocks noChangeArrowheads="1"/>
          </p:cNvSpPr>
          <p:nvPr userDrawn="1"/>
        </p:nvSpPr>
        <p:spPr bwMode="ltGray">
          <a:xfrm>
            <a:off x="265680" y="4932003"/>
            <a:ext cx="3420515" cy="139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3" tIns="30791" rIns="61583" bIns="30791" anchor="b" anchorCtr="0">
            <a:spAutoFit/>
          </a:bodyPr>
          <a:lstStyle/>
          <a:p>
            <a:pPr defTabSz="610719"/>
            <a:r>
              <a:rPr lang="en-US" sz="500" dirty="0" smtClean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7"/>
          <p:cNvSpPr>
            <a:spLocks noChangeArrowheads="1"/>
          </p:cNvSpPr>
          <p:nvPr userDrawn="1"/>
        </p:nvSpPr>
        <p:spPr bwMode="ltGray">
          <a:xfrm>
            <a:off x="8678636" y="4927623"/>
            <a:ext cx="202734" cy="1391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9"/>
            <a:fld id="{DFCF27A5-1A5B-48D3-A060-2758FFBB1ADD}" type="slidenum">
              <a:rPr lang="en-US" sz="500">
                <a:solidFill>
                  <a:srgbClr val="FFFFFF"/>
                </a:solidFill>
                <a:latin typeface="Arial"/>
              </a:rPr>
              <a:pPr algn="r" defTabSz="610719"/>
              <a:t>‹#›</a:t>
            </a:fld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4800029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2" grpId="0"/>
      <p:bldP spid="7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29" name="Rectangle 28"/>
          <p:cNvSpPr/>
          <p:nvPr/>
        </p:nvSpPr>
        <p:spPr>
          <a:xfrm>
            <a:off x="1891875" y="596646"/>
            <a:ext cx="5349240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891875" y="3595766"/>
            <a:ext cx="5347552" cy="7472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900238" y="596646"/>
            <a:ext cx="5329238" cy="300380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47305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32" name="Rectangle 31"/>
          <p:cNvSpPr/>
          <p:nvPr/>
        </p:nvSpPr>
        <p:spPr>
          <a:xfrm>
            <a:off x="338329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38329" y="233172"/>
            <a:ext cx="3273552" cy="184480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71" tIns="34286" rIns="68571" bIns="34286" rtlCol="0" anchor="ctr" anchorCtr="0">
            <a:normAutofit/>
          </a:bodyPr>
          <a:lstStyle>
            <a:lvl1pPr marL="0" indent="0" algn="ctr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29703" y="2571750"/>
            <a:ext cx="7009298" cy="1066446"/>
          </a:xfrm>
        </p:spPr>
        <p:txBody>
          <a:bodyPr anchor="t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Large photo </a:t>
            </a:r>
            <a:br>
              <a:rPr lang="en-US" dirty="0" smtClean="0"/>
            </a:br>
            <a:r>
              <a:rPr lang="en-US" dirty="0" smtClean="0"/>
              <a:t>caption here.</a:t>
            </a:r>
          </a:p>
        </p:txBody>
      </p:sp>
    </p:spTree>
    <p:extLst>
      <p:ext uri="{BB962C8B-B14F-4D97-AF65-F5344CB8AC3E}">
        <p14:creationId xmlns:p14="http://schemas.microsoft.com/office/powerpoint/2010/main" val="382305144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40" name="Rectangle 39"/>
          <p:cNvSpPr/>
          <p:nvPr/>
        </p:nvSpPr>
        <p:spPr>
          <a:xfrm>
            <a:off x="4992624" y="644652"/>
            <a:ext cx="3630168" cy="3771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992624" y="644652"/>
            <a:ext cx="3630168" cy="37719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546730"/>
            <a:ext cx="4349918" cy="93917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14069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2"/>
            <a:ext cx="9144000" cy="514349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ound Same Side Corner Rectangle 4"/>
          <p:cNvSpPr/>
          <p:nvPr userDrawn="1"/>
        </p:nvSpPr>
        <p:spPr>
          <a:xfrm rot="10800000" flipV="1">
            <a:off x="5848888" y="1896534"/>
            <a:ext cx="3295109" cy="3246968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/>
          <a:p>
            <a:pPr lvl="1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147507" y="3051891"/>
            <a:ext cx="2666295" cy="174871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spcBef>
                <a:spcPct val="0"/>
              </a:spcBef>
              <a:defRPr lang="en-US" sz="3200" kern="1200" spc="-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3000" spc="-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Copy and paste this caption box to any full bleed image.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51376" y="4931497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12" name="Rectangle 5"/>
          <p:cNvSpPr>
            <a:spLocks noChangeArrowheads="1"/>
          </p:cNvSpPr>
          <p:nvPr userDrawn="1"/>
        </p:nvSpPr>
        <p:spPr bwMode="ltGray">
          <a:xfrm>
            <a:off x="7789664" y="4930196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40522" y="4927118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377727" y="584594"/>
            <a:ext cx="1714766" cy="4046673"/>
            <a:chOff x="547855" y="1510844"/>
            <a:chExt cx="2250002" cy="5309775"/>
          </a:xfrm>
        </p:grpSpPr>
        <p:sp>
          <p:nvSpPr>
            <p:cNvPr id="15" name="Rounded Rectangle 14"/>
            <p:cNvSpPr/>
            <p:nvPr/>
          </p:nvSpPr>
          <p:spPr>
            <a:xfrm flipH="1">
              <a:off x="547855" y="1510844"/>
              <a:ext cx="726002" cy="3399841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00B2F0">
                    <a:alpha val="60000"/>
                  </a:srgbClr>
                </a:gs>
                <a:gs pos="100000">
                  <a:srgbClr val="96CA4B">
                    <a:alpha val="53000"/>
                  </a:srgb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 defTabSz="914400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 flipH="1">
              <a:off x="928855" y="3628485"/>
              <a:ext cx="726002" cy="1893196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60000"/>
                <a:lumOff val="40000"/>
                <a:alpha val="4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 flipH="1">
              <a:off x="2071855" y="5460823"/>
              <a:ext cx="726002" cy="1359796"/>
            </a:xfrm>
            <a:prstGeom prst="roundRect">
              <a:avLst>
                <a:gd name="adj" fmla="val 50000"/>
              </a:avLst>
            </a:prstGeom>
            <a:solidFill>
              <a:srgbClr val="B7D333">
                <a:alpha val="3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9" name="TextBox 18"/>
          <p:cNvSpPr txBox="1"/>
          <p:nvPr userDrawn="1"/>
        </p:nvSpPr>
        <p:spPr>
          <a:xfrm>
            <a:off x="394895" y="0"/>
            <a:ext cx="2176857" cy="4001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914400"/>
            <a:r>
              <a:rPr lang="en-US" sz="2000" dirty="0">
                <a:solidFill>
                  <a:srgbClr val="7F7F7F"/>
                </a:solidFill>
                <a:latin typeface="Arial Narrow" pitchFamily="34" charset="0"/>
              </a:rPr>
              <a:t>Talent Management</a:t>
            </a:r>
            <a:endParaRPr lang="en-GB" sz="2000" dirty="0">
              <a:solidFill>
                <a:srgbClr val="7F7F7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221143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48" name="Rectangle 47"/>
          <p:cNvSpPr/>
          <p:nvPr/>
        </p:nvSpPr>
        <p:spPr>
          <a:xfrm>
            <a:off x="3668713" y="233363"/>
            <a:ext cx="3268136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669004" y="233363"/>
            <a:ext cx="3267861" cy="1995489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71" tIns="34286" rIns="68571" bIns="34286" rtlCol="0" anchor="ctr" anchorCtr="0">
            <a:normAutofit/>
          </a:bodyPr>
          <a:lstStyle>
            <a:lvl1pPr marL="0" indent="0" algn="ctr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334963" y="233363"/>
            <a:ext cx="3287736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20831" y="233363"/>
            <a:ext cx="3302001" cy="1995489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71" tIns="34286" rIns="68571" bIns="34286" rtlCol="0" anchor="ctr" anchorCtr="0">
            <a:normAutofit/>
          </a:bodyPr>
          <a:lstStyle>
            <a:lvl1pPr marL="0" indent="0" algn="ctr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979833" y="233363"/>
            <a:ext cx="1838730" cy="98107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71" tIns="34286" rIns="68571" bIns="34286" rtlCol="0" anchor="ctr" anchorCtr="0">
            <a:normAutofit/>
          </a:bodyPr>
          <a:lstStyle>
            <a:lvl1pPr marL="0" indent="0" algn="ctr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2" name="Rectangle 51"/>
          <p:cNvSpPr/>
          <p:nvPr/>
        </p:nvSpPr>
        <p:spPr>
          <a:xfrm>
            <a:off x="334978" y="2271723"/>
            <a:ext cx="2523161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320824" y="2271723"/>
            <a:ext cx="2537420" cy="25942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71" tIns="34286" rIns="68571" bIns="34286" rtlCol="0" anchor="ctr" anchorCtr="0">
            <a:normAutofit/>
          </a:bodyPr>
          <a:lstStyle>
            <a:lvl1pPr marL="0" indent="0" algn="ctr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4" name="Rectangle 53"/>
          <p:cNvSpPr/>
          <p:nvPr/>
        </p:nvSpPr>
        <p:spPr>
          <a:xfrm>
            <a:off x="2911476" y="2271723"/>
            <a:ext cx="4025374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2908334" y="2271723"/>
            <a:ext cx="4028516" cy="25942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71" tIns="34286" rIns="68571" bIns="34286" rtlCol="0" anchor="ctr" anchorCtr="0">
            <a:normAutofit/>
          </a:bodyPr>
          <a:lstStyle>
            <a:lvl1pPr marL="0" indent="0" algn="ctr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6979833" y="1262754"/>
            <a:ext cx="1838730" cy="258161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6979833" y="1257301"/>
            <a:ext cx="1838730" cy="2587058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71" tIns="34286" rIns="68571" bIns="34286" rtlCol="0" anchor="ctr" anchorCtr="0">
            <a:normAutofit/>
          </a:bodyPr>
          <a:lstStyle>
            <a:lvl1pPr marL="0" indent="0" algn="ctr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6979833" y="3887223"/>
            <a:ext cx="1838730" cy="97869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71" tIns="34286" rIns="68571" bIns="34286" rtlCol="0" anchor="ctr" anchorCtr="0">
            <a:normAutofit/>
          </a:bodyPr>
          <a:lstStyle>
            <a:lvl1pPr marL="0" indent="0" algn="ctr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60527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38328" y="233182"/>
            <a:ext cx="8476488" cy="455654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68572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333390" y="233183"/>
            <a:ext cx="8474869" cy="4540639"/>
          </a:xfrm>
          <a:ln>
            <a:solidFill>
              <a:srgbClr val="08252E"/>
            </a:solidFill>
          </a:ln>
        </p:spPr>
        <p:txBody>
          <a:bodyPr vert="horz" lIns="68571" tIns="34286" rIns="68571" bIns="34286" rtlCol="0" anchor="ctr" anchorCtr="0">
            <a:normAutofit/>
          </a:bodyPr>
          <a:lstStyle>
            <a:lvl1pPr marL="0" indent="0" algn="ctr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Photo placeholder</a:t>
            </a:r>
            <a:endParaRPr lang="en-US" dirty="0"/>
          </a:p>
        </p:txBody>
      </p:sp>
      <p:pic>
        <p:nvPicPr>
          <p:cNvPr id="9" name="Picture 8" descr="segue textur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3375" y="4786092"/>
            <a:ext cx="8477250" cy="12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99043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Full bleed image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95694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pic>
        <p:nvPicPr>
          <p:cNvPr id="55" name="Picture 54" descr="texture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700" y="1344"/>
            <a:ext cx="9156700" cy="5142161"/>
          </a:xfrm>
          <a:prstGeom prst="rect">
            <a:avLst/>
          </a:prstGeom>
        </p:spPr>
      </p:pic>
      <p:sp>
        <p:nvSpPr>
          <p:cNvPr id="21" name="Media Placeholder 20"/>
          <p:cNvSpPr>
            <a:spLocks noGrp="1"/>
          </p:cNvSpPr>
          <p:nvPr>
            <p:ph type="media" sz="quarter" idx="10" hasCustomPrompt="1"/>
          </p:nvPr>
        </p:nvSpPr>
        <p:spPr>
          <a:xfrm>
            <a:off x="4391620" y="584002"/>
            <a:ext cx="4424562" cy="3319272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1" tIns="34286" rIns="68571" bIns="34286" rtlCol="0" anchor="ctr">
            <a:normAutofit/>
          </a:bodyPr>
          <a:lstStyle>
            <a:lvl1pPr marL="0" indent="0" algn="ctr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video</a:t>
            </a:r>
            <a:endParaRPr lang="en-US" dirty="0"/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341800" y="4572002"/>
            <a:ext cx="631526" cy="335757"/>
            <a:chOff x="384" y="331"/>
            <a:chExt cx="912" cy="485"/>
          </a:xfrm>
        </p:grpSpPr>
        <p:sp>
          <p:nvSpPr>
            <p:cNvPr id="23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5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6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7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8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9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0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1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2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3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4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5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6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7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2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632249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6990920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34" name="Rectangle 33"/>
          <p:cNvSpPr>
            <a:spLocks noChangeArrowheads="1"/>
          </p:cNvSpPr>
          <p:nvPr userDrawn="1"/>
        </p:nvSpPr>
        <p:spPr bwMode="black">
          <a:xfrm>
            <a:off x="4414521" y="4383413"/>
            <a:ext cx="31090" cy="1177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5" name="Freeform 34"/>
          <p:cNvSpPr>
            <a:spLocks/>
          </p:cNvSpPr>
          <p:nvPr userDrawn="1"/>
        </p:nvSpPr>
        <p:spPr bwMode="black">
          <a:xfrm>
            <a:off x="4595653" y="4380152"/>
            <a:ext cx="90017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6" name="Freeform 35"/>
          <p:cNvSpPr>
            <a:spLocks/>
          </p:cNvSpPr>
          <p:nvPr userDrawn="1"/>
        </p:nvSpPr>
        <p:spPr bwMode="black">
          <a:xfrm>
            <a:off x="4284390" y="4380152"/>
            <a:ext cx="90017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 noEditPoints="1"/>
          </p:cNvSpPr>
          <p:nvPr userDrawn="1"/>
        </p:nvSpPr>
        <p:spPr bwMode="black">
          <a:xfrm>
            <a:off x="4718200" y="4380152"/>
            <a:ext cx="123637" cy="124284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/>
          </p:cNvSpPr>
          <p:nvPr userDrawn="1"/>
        </p:nvSpPr>
        <p:spPr bwMode="black">
          <a:xfrm>
            <a:off x="4485753" y="4380152"/>
            <a:ext cx="80617" cy="124284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/>
          </p:cNvSpPr>
          <p:nvPr userDrawn="1"/>
        </p:nvSpPr>
        <p:spPr bwMode="black">
          <a:xfrm>
            <a:off x="4222558" y="4240648"/>
            <a:ext cx="29282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 userDrawn="1"/>
        </p:nvSpPr>
        <p:spPr bwMode="black">
          <a:xfrm>
            <a:off x="4304621" y="4200066"/>
            <a:ext cx="29282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4385239" y="4144276"/>
            <a:ext cx="29282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4467302" y="4200066"/>
            <a:ext cx="29282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4547558" y="4240648"/>
            <a:ext cx="31090" cy="6051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4629622" y="4200066"/>
            <a:ext cx="29644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4711686" y="4144276"/>
            <a:ext cx="29644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4792302" y="4200066"/>
            <a:ext cx="29644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4874366" y="4240648"/>
            <a:ext cx="29644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4243907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</p:bld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34" name="TextBox 33"/>
          <p:cNvSpPr txBox="1"/>
          <p:nvPr userDrawn="1"/>
        </p:nvSpPr>
        <p:spPr>
          <a:xfrm>
            <a:off x="644703" y="2295367"/>
            <a:ext cx="1851465" cy="484740"/>
          </a:xfrm>
          <a:prstGeom prst="rect">
            <a:avLst/>
          </a:prstGeom>
          <a:noFill/>
        </p:spPr>
        <p:txBody>
          <a:bodyPr wrap="none" lIns="68571" tIns="34286" rIns="68571" bIns="34286" rtlCol="0">
            <a:spAutoFit/>
          </a:bodyPr>
          <a:lstStyle/>
          <a:p>
            <a:pPr defTabSz="685720"/>
            <a:r>
              <a:rPr lang="en-US" sz="2700" dirty="0" smtClean="0">
                <a:solidFill>
                  <a:srgbClr val="FFFFFF"/>
                </a:solidFill>
                <a:latin typeface="Arial"/>
              </a:rPr>
              <a:t>Thank you.</a:t>
            </a:r>
            <a:endParaRPr lang="en-US" sz="27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" name="Rectangle 19"/>
          <p:cNvSpPr>
            <a:spLocks noChangeArrowheads="1"/>
          </p:cNvSpPr>
          <p:nvPr userDrawn="1"/>
        </p:nvSpPr>
        <p:spPr bwMode="black">
          <a:xfrm>
            <a:off x="6308661" y="2781454"/>
            <a:ext cx="87485" cy="33137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black">
          <a:xfrm>
            <a:off x="6818318" y="2773205"/>
            <a:ext cx="253297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5942462" y="2773205"/>
            <a:ext cx="253297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3" name="Freeform 22"/>
          <p:cNvSpPr>
            <a:spLocks noEditPoints="1"/>
          </p:cNvSpPr>
          <p:nvPr userDrawn="1"/>
        </p:nvSpPr>
        <p:spPr bwMode="black">
          <a:xfrm>
            <a:off x="7163167" y="2773205"/>
            <a:ext cx="347903" cy="349723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4" name="Freeform 23"/>
          <p:cNvSpPr>
            <a:spLocks/>
          </p:cNvSpPr>
          <p:nvPr userDrawn="1"/>
        </p:nvSpPr>
        <p:spPr bwMode="black">
          <a:xfrm>
            <a:off x="6509074" y="2773205"/>
            <a:ext cx="226849" cy="349723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5" name="Freeform 24"/>
          <p:cNvSpPr>
            <a:spLocks/>
          </p:cNvSpPr>
          <p:nvPr userDrawn="1"/>
        </p:nvSpPr>
        <p:spPr bwMode="black">
          <a:xfrm>
            <a:off x="5768495" y="2311830"/>
            <a:ext cx="82398" cy="170274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6" name="Freeform 25"/>
          <p:cNvSpPr>
            <a:spLocks/>
          </p:cNvSpPr>
          <p:nvPr userDrawn="1"/>
        </p:nvSpPr>
        <p:spPr bwMode="black">
          <a:xfrm>
            <a:off x="5999412" y="2197636"/>
            <a:ext cx="82398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7" name="Freeform 26"/>
          <p:cNvSpPr>
            <a:spLocks/>
          </p:cNvSpPr>
          <p:nvPr userDrawn="1"/>
        </p:nvSpPr>
        <p:spPr bwMode="black">
          <a:xfrm>
            <a:off x="6226265" y="2040627"/>
            <a:ext cx="82398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8" name="Freeform 27"/>
          <p:cNvSpPr>
            <a:spLocks/>
          </p:cNvSpPr>
          <p:nvPr userDrawn="1"/>
        </p:nvSpPr>
        <p:spPr bwMode="black">
          <a:xfrm>
            <a:off x="6457182" y="2197637"/>
            <a:ext cx="82398" cy="28446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black">
          <a:xfrm>
            <a:off x="6683021" y="2311841"/>
            <a:ext cx="87485" cy="17027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0" name="Freeform 29"/>
          <p:cNvSpPr>
            <a:spLocks/>
          </p:cNvSpPr>
          <p:nvPr userDrawn="1"/>
        </p:nvSpPr>
        <p:spPr bwMode="black">
          <a:xfrm>
            <a:off x="6913946" y="2197636"/>
            <a:ext cx="83415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1" name="Freeform 30"/>
          <p:cNvSpPr>
            <a:spLocks/>
          </p:cNvSpPr>
          <p:nvPr userDrawn="1"/>
        </p:nvSpPr>
        <p:spPr bwMode="black">
          <a:xfrm>
            <a:off x="7144863" y="2040627"/>
            <a:ext cx="83415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2" name="Freeform 31"/>
          <p:cNvSpPr>
            <a:spLocks/>
          </p:cNvSpPr>
          <p:nvPr userDrawn="1"/>
        </p:nvSpPr>
        <p:spPr bwMode="black">
          <a:xfrm>
            <a:off x="7371712" y="2197636"/>
            <a:ext cx="83415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3" name="Freeform 32"/>
          <p:cNvSpPr>
            <a:spLocks/>
          </p:cNvSpPr>
          <p:nvPr userDrawn="1"/>
        </p:nvSpPr>
        <p:spPr bwMode="black">
          <a:xfrm>
            <a:off x="7602631" y="2311841"/>
            <a:ext cx="83415" cy="17027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173334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22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</p:bld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Complex_Gradient7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" name="Rectangle 35"/>
          <p:cNvSpPr>
            <a:spLocks noChangeArrowheads="1"/>
          </p:cNvSpPr>
          <p:nvPr userDrawn="1"/>
        </p:nvSpPr>
        <p:spPr bwMode="black">
          <a:xfrm>
            <a:off x="4414521" y="4383413"/>
            <a:ext cx="31090" cy="1177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/>
          </p:cNvSpPr>
          <p:nvPr userDrawn="1"/>
        </p:nvSpPr>
        <p:spPr bwMode="black">
          <a:xfrm>
            <a:off x="4595653" y="4380152"/>
            <a:ext cx="90017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/>
          </p:cNvSpPr>
          <p:nvPr userDrawn="1"/>
        </p:nvSpPr>
        <p:spPr bwMode="black">
          <a:xfrm>
            <a:off x="4284390" y="4380152"/>
            <a:ext cx="90017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 noEditPoints="1"/>
          </p:cNvSpPr>
          <p:nvPr userDrawn="1"/>
        </p:nvSpPr>
        <p:spPr bwMode="black">
          <a:xfrm>
            <a:off x="4718200" y="4380152"/>
            <a:ext cx="123637" cy="124284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 userDrawn="1"/>
        </p:nvSpPr>
        <p:spPr bwMode="black">
          <a:xfrm>
            <a:off x="4485753" y="4380152"/>
            <a:ext cx="80617" cy="124284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4222558" y="4240648"/>
            <a:ext cx="29282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4304621" y="4200066"/>
            <a:ext cx="29282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4385239" y="4144276"/>
            <a:ext cx="29282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4467302" y="4200066"/>
            <a:ext cx="29282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4547558" y="4240648"/>
            <a:ext cx="31090" cy="6051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4629622" y="4200066"/>
            <a:ext cx="29644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4711686" y="4144276"/>
            <a:ext cx="29644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4792302" y="4200066"/>
            <a:ext cx="29644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4874366" y="4240648"/>
            <a:ext cx="29644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4321221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</p:bld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Complex_Gradient7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4" name="TextBox 33"/>
          <p:cNvSpPr txBox="1"/>
          <p:nvPr userDrawn="1"/>
        </p:nvSpPr>
        <p:spPr>
          <a:xfrm>
            <a:off x="644703" y="2295367"/>
            <a:ext cx="1851465" cy="484740"/>
          </a:xfrm>
          <a:prstGeom prst="rect">
            <a:avLst/>
          </a:prstGeom>
          <a:noFill/>
        </p:spPr>
        <p:txBody>
          <a:bodyPr wrap="none" lIns="68571" tIns="34286" rIns="68571" bIns="34286" rtlCol="0">
            <a:spAutoFit/>
          </a:bodyPr>
          <a:lstStyle/>
          <a:p>
            <a:pPr defTabSz="685720"/>
            <a:r>
              <a:rPr lang="en-US" sz="2700" dirty="0" smtClean="0">
                <a:solidFill>
                  <a:srgbClr val="FFFFFF"/>
                </a:solidFill>
                <a:latin typeface="Arial"/>
              </a:rPr>
              <a:t>Thank you.</a:t>
            </a:r>
            <a:endParaRPr lang="en-US" sz="27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ectangle 34"/>
          <p:cNvSpPr>
            <a:spLocks noChangeArrowheads="1"/>
          </p:cNvSpPr>
          <p:nvPr userDrawn="1"/>
        </p:nvSpPr>
        <p:spPr bwMode="black">
          <a:xfrm>
            <a:off x="6308661" y="2781454"/>
            <a:ext cx="87485" cy="33137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6" name="Freeform 35"/>
          <p:cNvSpPr>
            <a:spLocks/>
          </p:cNvSpPr>
          <p:nvPr userDrawn="1"/>
        </p:nvSpPr>
        <p:spPr bwMode="black">
          <a:xfrm>
            <a:off x="6818318" y="2773205"/>
            <a:ext cx="253297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/>
          </p:cNvSpPr>
          <p:nvPr userDrawn="1"/>
        </p:nvSpPr>
        <p:spPr bwMode="black">
          <a:xfrm>
            <a:off x="5942462" y="2773205"/>
            <a:ext cx="253297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 noEditPoints="1"/>
          </p:cNvSpPr>
          <p:nvPr userDrawn="1"/>
        </p:nvSpPr>
        <p:spPr bwMode="black">
          <a:xfrm>
            <a:off x="7163167" y="2773205"/>
            <a:ext cx="347903" cy="349723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/>
          </p:cNvSpPr>
          <p:nvPr userDrawn="1"/>
        </p:nvSpPr>
        <p:spPr bwMode="black">
          <a:xfrm>
            <a:off x="6509074" y="2773205"/>
            <a:ext cx="226849" cy="349723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 userDrawn="1"/>
        </p:nvSpPr>
        <p:spPr bwMode="black">
          <a:xfrm>
            <a:off x="5768495" y="2311830"/>
            <a:ext cx="82398" cy="170274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5999412" y="2197636"/>
            <a:ext cx="82398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6226265" y="2040627"/>
            <a:ext cx="82398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6457182" y="2197637"/>
            <a:ext cx="82398" cy="28446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6683021" y="2311841"/>
            <a:ext cx="87485" cy="17027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6913946" y="2197636"/>
            <a:ext cx="83415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7144863" y="2040627"/>
            <a:ext cx="83415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7371712" y="2197636"/>
            <a:ext cx="83415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7602631" y="2311841"/>
            <a:ext cx="83415" cy="17027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1" tIns="34286" rIns="68571" bIns="34286"/>
          <a:lstStyle/>
          <a:p>
            <a:pPr defTabSz="685720"/>
            <a:endParaRPr lang="en-US" sz="140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46556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37" grpId="0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50" grpId="0" animBg="1"/>
      <p:bldP spid="50" grpId="1" animBg="1"/>
    </p:bld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/>
          <p:cNvSpPr/>
          <p:nvPr/>
        </p:nvSpPr>
        <p:spPr>
          <a:xfrm>
            <a:off x="3405366" y="4461478"/>
            <a:ext cx="599089" cy="8592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460948" y="4461478"/>
            <a:ext cx="472965" cy="859220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771705" y="4461478"/>
            <a:ext cx="472965" cy="859220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/>
        </p:nvSpPr>
        <p:spPr>
          <a:xfrm rot="10800000" flipH="1">
            <a:off x="2856506" y="623463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Rounded Rectangle 27"/>
          <p:cNvSpPr/>
          <p:nvPr userDrawn="1"/>
        </p:nvSpPr>
        <p:spPr>
          <a:xfrm rot="10800000" flipH="1">
            <a:off x="821966" y="3537586"/>
            <a:ext cx="656314" cy="11306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Rounded Rectangle 28"/>
          <p:cNvSpPr/>
          <p:nvPr userDrawn="1"/>
        </p:nvSpPr>
        <p:spPr>
          <a:xfrm rot="10800000" flipH="1">
            <a:off x="1332506" y="1485909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>
          <a:xfrm rot="10800000" flipH="1">
            <a:off x="5869870" y="4960620"/>
            <a:ext cx="780312" cy="2489662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 rot="10800000" flipH="1">
            <a:off x="6933207" y="4960621"/>
            <a:ext cx="656314" cy="11306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Rounded Rectangle 33"/>
          <p:cNvSpPr/>
          <p:nvPr/>
        </p:nvSpPr>
        <p:spPr>
          <a:xfrm rot="10800000" flipH="1">
            <a:off x="2191500" y="5039598"/>
            <a:ext cx="662549" cy="474829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ounded Rectangle 34"/>
          <p:cNvSpPr/>
          <p:nvPr/>
        </p:nvSpPr>
        <p:spPr>
          <a:xfrm rot="10800000" flipH="1">
            <a:off x="2794162" y="5001455"/>
            <a:ext cx="779356" cy="415973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" name="Rounded Rectangle 35"/>
          <p:cNvSpPr/>
          <p:nvPr/>
        </p:nvSpPr>
        <p:spPr>
          <a:xfrm rot="10800000" flipH="1">
            <a:off x="4920835" y="768936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" name="Rounded Rectangle 36"/>
          <p:cNvSpPr/>
          <p:nvPr/>
        </p:nvSpPr>
        <p:spPr>
          <a:xfrm rot="10800000" flipH="1">
            <a:off x="5391889" y="1298872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Rounded Rectangle 37"/>
          <p:cNvSpPr/>
          <p:nvPr userDrawn="1"/>
        </p:nvSpPr>
        <p:spPr>
          <a:xfrm rot="10800000" flipH="1">
            <a:off x="341314" y="5031567"/>
            <a:ext cx="780312" cy="248966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Rounded Rectangle 38"/>
          <p:cNvSpPr/>
          <p:nvPr/>
        </p:nvSpPr>
        <p:spPr>
          <a:xfrm rot="10800000" flipH="1">
            <a:off x="8038251" y="6238704"/>
            <a:ext cx="780312" cy="2489662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1" name="Rounded Rectangle 40"/>
          <p:cNvSpPr/>
          <p:nvPr/>
        </p:nvSpPr>
        <p:spPr>
          <a:xfrm rot="10800000" flipH="1">
            <a:off x="8162250" y="1298872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" name="Rounded Rectangle 41"/>
          <p:cNvSpPr/>
          <p:nvPr/>
        </p:nvSpPr>
        <p:spPr>
          <a:xfrm rot="10800000" flipH="1">
            <a:off x="3770907" y="1485909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0" y="1789"/>
            <a:ext cx="9129008" cy="4783736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1" y="4908958"/>
            <a:ext cx="9129008" cy="234551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60"/>
            <a:ext cx="8112126" cy="288131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15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936181"/>
            <a:ext cx="8112125" cy="2180429"/>
          </a:xfrm>
        </p:spPr>
        <p:txBody>
          <a:bodyPr/>
          <a:lstStyle>
            <a:lvl1pPr algn="l" defTabSz="6857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grpSp>
        <p:nvGrpSpPr>
          <p:cNvPr id="91" name="Group 67"/>
          <p:cNvGrpSpPr/>
          <p:nvPr userDrawn="1"/>
        </p:nvGrpSpPr>
        <p:grpSpPr>
          <a:xfrm>
            <a:off x="341812" y="226414"/>
            <a:ext cx="630141" cy="335858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92" name="Rectangle 9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5" name="Freeform 94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</p:grpSp>
      <p:sp>
        <p:nvSpPr>
          <p:cNvPr id="56" name="Rectangle 4"/>
          <p:cNvSpPr>
            <a:spLocks noChangeArrowheads="1"/>
          </p:cNvSpPr>
          <p:nvPr userDrawn="1"/>
        </p:nvSpPr>
        <p:spPr bwMode="ltGray">
          <a:xfrm>
            <a:off x="265679" y="4932001"/>
            <a:ext cx="3420515" cy="139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 anchorCtr="0">
            <a:spAutoFit/>
          </a:bodyPr>
          <a:lstStyle/>
          <a:p>
            <a:pPr defTabSz="610744"/>
            <a:r>
              <a:rPr lang="en-US" sz="5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7" name="Rectangle 5"/>
          <p:cNvSpPr>
            <a:spLocks noChangeArrowheads="1"/>
          </p:cNvSpPr>
          <p:nvPr userDrawn="1"/>
        </p:nvSpPr>
        <p:spPr bwMode="ltGray">
          <a:xfrm>
            <a:off x="7934504" y="4930699"/>
            <a:ext cx="641155" cy="139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/>
            <a:r>
              <a:rPr lang="en-US" sz="5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8" name="Rectangle 7"/>
          <p:cNvSpPr>
            <a:spLocks noChangeArrowheads="1"/>
          </p:cNvSpPr>
          <p:nvPr userDrawn="1"/>
        </p:nvSpPr>
        <p:spPr bwMode="ltGray">
          <a:xfrm>
            <a:off x="8678630" y="4927621"/>
            <a:ext cx="202740" cy="1391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/>
            <a:fld id="{DFCF27A5-1A5B-48D3-A060-2758FFBB1ADD}" type="slidenum">
              <a:rPr lang="en-US" sz="500">
                <a:solidFill>
                  <a:srgbClr val="C0C0C0"/>
                </a:solidFill>
                <a:latin typeface="Arial"/>
              </a:rPr>
              <a:pPr algn="r" defTabSz="610744"/>
              <a:t>‹#›</a:t>
            </a:fld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0" hasCustomPrompt="1"/>
          </p:nvPr>
        </p:nvSpPr>
        <p:spPr>
          <a:xfrm>
            <a:off x="235806" y="3589445"/>
            <a:ext cx="8110268" cy="296466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1" hasCustomPrompt="1"/>
          </p:nvPr>
        </p:nvSpPr>
        <p:spPr>
          <a:xfrm>
            <a:off x="235805" y="3955258"/>
            <a:ext cx="8124560" cy="300038"/>
          </a:xfrm>
        </p:spPr>
        <p:txBody>
          <a:bodyPr/>
          <a:lstStyle>
            <a:lvl1pPr marL="0" indent="0"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152055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grpId="0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6" grpId="0" animBg="1"/>
      <p:bldP spid="45" grpId="0" animBg="1"/>
      <p:bldP spid="33" grpId="0" animBg="1"/>
      <p:bldP spid="28" grpId="0" animBg="1"/>
      <p:bldP spid="29" grpId="0" animBg="1"/>
      <p:bldP spid="30" grpId="0" animBg="1"/>
      <p:bldP spid="31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1" grpId="0" animBg="1"/>
      <p:bldP spid="42" grpId="0" animBg="1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1"/>
            <a:ext cx="9143999" cy="514349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 userDrawn="1"/>
        </p:nvSpPr>
        <p:spPr>
          <a:xfrm rot="10800000" flipV="1">
            <a:off x="0" y="1"/>
            <a:ext cx="3567922" cy="51435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/>
          <a:p>
            <a:pPr lvl="1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 flipH="1">
            <a:off x="361356" y="2"/>
            <a:ext cx="1522373" cy="3733799"/>
            <a:chOff x="176931" y="1"/>
            <a:chExt cx="1706797" cy="4186120"/>
          </a:xfrm>
        </p:grpSpPr>
        <p:sp>
          <p:nvSpPr>
            <p:cNvPr id="19" name="Round Same Side Corner Rectangle 18"/>
            <p:cNvSpPr/>
            <p:nvPr userDrawn="1"/>
          </p:nvSpPr>
          <p:spPr>
            <a:xfrm rot="10800000">
              <a:off x="176931" y="1"/>
              <a:ext cx="1032389" cy="21945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4">
                <a:lumMod val="75000"/>
                <a:alpha val="2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" name="Round Same Side Corner Rectangle 19"/>
            <p:cNvSpPr/>
            <p:nvPr userDrawn="1"/>
          </p:nvSpPr>
          <p:spPr>
            <a:xfrm rot="10800000">
              <a:off x="851339" y="1"/>
              <a:ext cx="1032389" cy="118872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1">
                <a:lumMod val="50000"/>
                <a:alpha val="17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" name="Rounded Rectangle 20"/>
            <p:cNvSpPr/>
            <p:nvPr userDrawn="1"/>
          </p:nvSpPr>
          <p:spPr>
            <a:xfrm>
              <a:off x="256820" y="2649268"/>
              <a:ext cx="952500" cy="1536853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75000"/>
                <a:alpha val="23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02095" y="2907970"/>
            <a:ext cx="2772906" cy="1757163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spcBef>
                <a:spcPct val="0"/>
              </a:spcBef>
              <a:defRPr lang="en-US" sz="3200" kern="1200" spc="-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3000" spc="-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Copy and paste this caption box to any full bleed image.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51376" y="4931497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12" name="Rectangle 5"/>
          <p:cNvSpPr>
            <a:spLocks noChangeArrowheads="1"/>
          </p:cNvSpPr>
          <p:nvPr userDrawn="1"/>
        </p:nvSpPr>
        <p:spPr bwMode="ltGray">
          <a:xfrm>
            <a:off x="7789664" y="4930196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40522" y="4927118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233663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84"/>
          <p:cNvSpPr/>
          <p:nvPr/>
        </p:nvSpPr>
        <p:spPr>
          <a:xfrm>
            <a:off x="0" y="1789"/>
            <a:ext cx="9129008" cy="4783736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1" y="4908958"/>
            <a:ext cx="9129008" cy="234551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60"/>
            <a:ext cx="8112126" cy="288131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15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936181"/>
            <a:ext cx="8112125" cy="2180429"/>
          </a:xfrm>
        </p:spPr>
        <p:txBody>
          <a:bodyPr/>
          <a:lstStyle>
            <a:lvl1pPr algn="l" defTabSz="68574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grpSp>
        <p:nvGrpSpPr>
          <p:cNvPr id="2" name="Group 67"/>
          <p:cNvGrpSpPr/>
          <p:nvPr userDrawn="1"/>
        </p:nvGrpSpPr>
        <p:grpSpPr>
          <a:xfrm>
            <a:off x="341812" y="226414"/>
            <a:ext cx="630141" cy="335858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92" name="Rectangle 9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5" name="Freeform 94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</p:grpSp>
      <p:sp>
        <p:nvSpPr>
          <p:cNvPr id="56" name="Rectangle 4"/>
          <p:cNvSpPr>
            <a:spLocks noChangeArrowheads="1"/>
          </p:cNvSpPr>
          <p:nvPr userDrawn="1"/>
        </p:nvSpPr>
        <p:spPr bwMode="ltGray">
          <a:xfrm>
            <a:off x="265679" y="4932001"/>
            <a:ext cx="3420515" cy="139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 anchorCtr="0">
            <a:spAutoFit/>
          </a:bodyPr>
          <a:lstStyle/>
          <a:p>
            <a:pPr defTabSz="610744"/>
            <a:r>
              <a:rPr lang="en-US" sz="5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7" name="Rectangle 5"/>
          <p:cNvSpPr>
            <a:spLocks noChangeArrowheads="1"/>
          </p:cNvSpPr>
          <p:nvPr userDrawn="1"/>
        </p:nvSpPr>
        <p:spPr bwMode="ltGray">
          <a:xfrm>
            <a:off x="7934504" y="4930699"/>
            <a:ext cx="641155" cy="139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/>
            <a:r>
              <a:rPr lang="en-US" sz="5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8" name="Rectangle 7"/>
          <p:cNvSpPr>
            <a:spLocks noChangeArrowheads="1"/>
          </p:cNvSpPr>
          <p:nvPr userDrawn="1"/>
        </p:nvSpPr>
        <p:spPr bwMode="ltGray">
          <a:xfrm>
            <a:off x="8678630" y="4927621"/>
            <a:ext cx="202740" cy="1391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/>
            <a:fld id="{DFCF27A5-1A5B-48D3-A060-2758FFBB1ADD}" type="slidenum">
              <a:rPr lang="en-US" sz="500">
                <a:solidFill>
                  <a:srgbClr val="C0C0C0"/>
                </a:solidFill>
                <a:latin typeface="Arial"/>
              </a:rPr>
              <a:pPr algn="r" defTabSz="610744"/>
              <a:t>‹#›</a:t>
            </a:fld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0" hasCustomPrompt="1"/>
          </p:nvPr>
        </p:nvSpPr>
        <p:spPr>
          <a:xfrm>
            <a:off x="235806" y="3589445"/>
            <a:ext cx="8110268" cy="296466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1" hasCustomPrompt="1"/>
          </p:nvPr>
        </p:nvSpPr>
        <p:spPr>
          <a:xfrm>
            <a:off x="235805" y="3955258"/>
            <a:ext cx="8124560" cy="300038"/>
          </a:xfrm>
        </p:spPr>
        <p:txBody>
          <a:bodyPr/>
          <a:lstStyle>
            <a:lvl1pPr marL="0" indent="0"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70516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29" name="Rounded Rectangle 28"/>
          <p:cNvSpPr/>
          <p:nvPr/>
        </p:nvSpPr>
        <p:spPr>
          <a:xfrm>
            <a:off x="1823499" y="-2677944"/>
            <a:ext cx="1729740" cy="1051063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0" y="-478290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 rot="10800000">
            <a:off x="1013792" y="3186456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Rounded Rectangle 31"/>
          <p:cNvSpPr/>
          <p:nvPr userDrawn="1"/>
        </p:nvSpPr>
        <p:spPr>
          <a:xfrm>
            <a:off x="6585484" y="-2184960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 userDrawn="1"/>
        </p:nvSpPr>
        <p:spPr>
          <a:xfrm>
            <a:off x="8105452" y="4274405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Rounded Rectangle 33"/>
          <p:cNvSpPr/>
          <p:nvPr/>
        </p:nvSpPr>
        <p:spPr>
          <a:xfrm rot="10800000">
            <a:off x="3036073" y="1137138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927520"/>
            <a:ext cx="8112125" cy="2189084"/>
          </a:xfrm>
        </p:spPr>
        <p:txBody>
          <a:bodyPr/>
          <a:lstStyle>
            <a:lvl1pPr>
              <a:lnSpc>
                <a:spcPct val="90000"/>
              </a:lnSpc>
              <a:defRPr sz="45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61"/>
            <a:ext cx="8112126" cy="288131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  <a:latin typeface="+mj-lt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58" name="Rectangle 5"/>
          <p:cNvSpPr>
            <a:spLocks noChangeArrowheads="1"/>
          </p:cNvSpPr>
          <p:nvPr/>
        </p:nvSpPr>
        <p:spPr bwMode="ltGray">
          <a:xfrm>
            <a:off x="7934504" y="4930699"/>
            <a:ext cx="641155" cy="139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/>
            <a:r>
              <a:rPr lang="en-US" sz="5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grpSp>
        <p:nvGrpSpPr>
          <p:cNvPr id="53" name="Group 5"/>
          <p:cNvGrpSpPr>
            <a:grpSpLocks/>
          </p:cNvGrpSpPr>
          <p:nvPr userDrawn="1"/>
        </p:nvGrpSpPr>
        <p:grpSpPr bwMode="auto">
          <a:xfrm>
            <a:off x="341800" y="228602"/>
            <a:ext cx="631526" cy="335757"/>
            <a:chOff x="384" y="331"/>
            <a:chExt cx="912" cy="485"/>
          </a:xfrm>
        </p:grpSpPr>
        <p:sp>
          <p:nvSpPr>
            <p:cNvPr id="54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8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9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0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1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2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3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4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sp>
        <p:nvSpPr>
          <p:cNvPr id="37" name="Rectangle 4"/>
          <p:cNvSpPr>
            <a:spLocks noChangeArrowheads="1"/>
          </p:cNvSpPr>
          <p:nvPr userDrawn="1"/>
        </p:nvSpPr>
        <p:spPr bwMode="ltGray">
          <a:xfrm>
            <a:off x="265679" y="4932001"/>
            <a:ext cx="3420515" cy="139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 anchorCtr="0">
            <a:spAutoFit/>
          </a:bodyPr>
          <a:lstStyle/>
          <a:p>
            <a:pPr defTabSz="610744"/>
            <a:r>
              <a:rPr lang="en-US" sz="500" dirty="0" smtClean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8678630" y="4927621"/>
            <a:ext cx="202740" cy="1391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/>
            <a:fld id="{DFCF27A5-1A5B-48D3-A060-2758FFBB1ADD}" type="slidenum">
              <a:rPr lang="en-US" sz="500">
                <a:solidFill>
                  <a:srgbClr val="FFFFFF"/>
                </a:solidFill>
                <a:latin typeface="Arial"/>
              </a:rPr>
              <a:pPr algn="r" defTabSz="610744"/>
              <a:t>‹#›</a:t>
            </a:fld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35805" y="3587077"/>
            <a:ext cx="8112650" cy="288131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35805" y="3954948"/>
            <a:ext cx="8112650" cy="288131"/>
          </a:xfrm>
        </p:spPr>
        <p:txBody>
          <a:bodyPr/>
          <a:lstStyle>
            <a:lvl1pPr marL="0" indent="0"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721527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grpSp>
        <p:nvGrpSpPr>
          <p:cNvPr id="46" name="Group 45"/>
          <p:cNvGrpSpPr/>
          <p:nvPr userDrawn="1"/>
        </p:nvGrpSpPr>
        <p:grpSpPr>
          <a:xfrm>
            <a:off x="10" y="-1542022"/>
            <a:ext cx="9835191" cy="14534360"/>
            <a:chOff x="0" y="-2056029"/>
            <a:chExt cx="13110173" cy="19379146"/>
          </a:xfrm>
        </p:grpSpPr>
        <p:sp>
          <p:nvSpPr>
            <p:cNvPr id="36" name="Rounded Rectangle 35"/>
            <p:cNvSpPr/>
            <p:nvPr userDrawn="1"/>
          </p:nvSpPr>
          <p:spPr>
            <a:xfrm>
              <a:off x="2430699" y="3308943"/>
              <a:ext cx="2305719" cy="140141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8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0" name="Rounded Rectangle 39"/>
            <p:cNvSpPr/>
            <p:nvPr userDrawn="1"/>
          </p:nvSpPr>
          <p:spPr>
            <a:xfrm>
              <a:off x="0" y="1236689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8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2" name="Rounded Rectangle 41"/>
            <p:cNvSpPr/>
            <p:nvPr userDrawn="1"/>
          </p:nvSpPr>
          <p:spPr>
            <a:xfrm rot="10800000">
              <a:off x="1351370" y="4248605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8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3" name="Rounded Rectangle 42"/>
            <p:cNvSpPr/>
            <p:nvPr userDrawn="1"/>
          </p:nvSpPr>
          <p:spPr>
            <a:xfrm>
              <a:off x="8778358" y="-2056029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8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4" name="Rounded Rectangle 43"/>
            <p:cNvSpPr/>
            <p:nvPr userDrawn="1"/>
          </p:nvSpPr>
          <p:spPr>
            <a:xfrm>
              <a:off x="10804454" y="2783785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8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5" name="Rounded Rectangle 44"/>
            <p:cNvSpPr/>
            <p:nvPr userDrawn="1"/>
          </p:nvSpPr>
          <p:spPr>
            <a:xfrm rot="10800000">
              <a:off x="4047043" y="174390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8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927520"/>
            <a:ext cx="8112125" cy="2189084"/>
          </a:xfrm>
        </p:spPr>
        <p:txBody>
          <a:bodyPr/>
          <a:lstStyle>
            <a:lvl1pPr>
              <a:lnSpc>
                <a:spcPct val="90000"/>
              </a:lnSpc>
              <a:defRPr sz="45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61"/>
            <a:ext cx="8112126" cy="288131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  <a:latin typeface="+mj-lt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58" name="Rectangle 5"/>
          <p:cNvSpPr>
            <a:spLocks noChangeArrowheads="1"/>
          </p:cNvSpPr>
          <p:nvPr/>
        </p:nvSpPr>
        <p:spPr bwMode="ltGray">
          <a:xfrm>
            <a:off x="7934504" y="4930699"/>
            <a:ext cx="641155" cy="139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/>
            <a:r>
              <a:rPr lang="en-US" sz="5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grpSp>
        <p:nvGrpSpPr>
          <p:cNvPr id="4" name="Group 5"/>
          <p:cNvGrpSpPr>
            <a:grpSpLocks/>
          </p:cNvGrpSpPr>
          <p:nvPr userDrawn="1"/>
        </p:nvGrpSpPr>
        <p:grpSpPr bwMode="auto">
          <a:xfrm>
            <a:off x="341800" y="228602"/>
            <a:ext cx="631526" cy="335757"/>
            <a:chOff x="384" y="331"/>
            <a:chExt cx="912" cy="485"/>
          </a:xfrm>
        </p:grpSpPr>
        <p:sp>
          <p:nvSpPr>
            <p:cNvPr id="54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8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9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0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1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2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3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4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sp>
        <p:nvSpPr>
          <p:cNvPr id="37" name="Rectangle 4"/>
          <p:cNvSpPr>
            <a:spLocks noChangeArrowheads="1"/>
          </p:cNvSpPr>
          <p:nvPr userDrawn="1"/>
        </p:nvSpPr>
        <p:spPr bwMode="ltGray">
          <a:xfrm>
            <a:off x="265679" y="4932001"/>
            <a:ext cx="3420515" cy="139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 anchorCtr="0">
            <a:spAutoFit/>
          </a:bodyPr>
          <a:lstStyle/>
          <a:p>
            <a:pPr defTabSz="610744"/>
            <a:r>
              <a:rPr lang="en-US" sz="500" dirty="0" smtClean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8678630" y="4927621"/>
            <a:ext cx="202740" cy="1391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/>
            <a:fld id="{DFCF27A5-1A5B-48D3-A060-2758FFBB1ADD}" type="slidenum">
              <a:rPr lang="en-US" sz="500">
                <a:solidFill>
                  <a:srgbClr val="FFFFFF"/>
                </a:solidFill>
                <a:latin typeface="Arial"/>
              </a:rPr>
              <a:pPr algn="r" defTabSz="610744"/>
              <a:t>‹#›</a:t>
            </a:fld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35805" y="3587077"/>
            <a:ext cx="8112650" cy="288131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35805" y="3954948"/>
            <a:ext cx="8112650" cy="288131"/>
          </a:xfrm>
        </p:spPr>
        <p:txBody>
          <a:bodyPr/>
          <a:lstStyle>
            <a:lvl1pPr marL="0" indent="0"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903080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egue textur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3375" y="2330055"/>
            <a:ext cx="8477250" cy="2578894"/>
          </a:xfrm>
          <a:prstGeom prst="rect">
            <a:avLst/>
          </a:prstGeom>
        </p:spPr>
      </p:pic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74" tIns="34288" rIns="68574" bIns="34288" anchor="ctr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74" tIns="34288" rIns="68574" bIns="34288" anchor="ctr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pic>
        <p:nvPicPr>
          <p:cNvPr id="16" name="Picture 15" descr="segue texture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3375" y="4786092"/>
            <a:ext cx="8477250" cy="122856"/>
          </a:xfrm>
          <a:prstGeom prst="rect">
            <a:avLst/>
          </a:prstGeom>
        </p:spPr>
      </p:pic>
      <p:sp>
        <p:nvSpPr>
          <p:cNvPr id="31" name="Rectangle 30"/>
          <p:cNvSpPr/>
          <p:nvPr userDrawn="1"/>
        </p:nvSpPr>
        <p:spPr>
          <a:xfrm>
            <a:off x="217366" y="2267175"/>
            <a:ext cx="8694295" cy="2518348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312841"/>
            <a:ext cx="8112125" cy="1805282"/>
          </a:xfrm>
        </p:spPr>
        <p:txBody>
          <a:bodyPr/>
          <a:lstStyle>
            <a:lvl1pPr algn="l" defTabSz="68574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041551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9" dur="16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2" grpId="0"/>
    </p:bld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egue textur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3375" y="2330055"/>
            <a:ext cx="8477250" cy="2578894"/>
          </a:xfrm>
          <a:prstGeom prst="rect">
            <a:avLst/>
          </a:prstGeom>
        </p:spPr>
      </p:pic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74" tIns="34288" rIns="68574" bIns="34288" anchor="ctr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74" tIns="34288" rIns="68574" bIns="34288" anchor="ctr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217366" y="2267184"/>
            <a:ext cx="8694295" cy="1290413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1330906"/>
            <a:ext cx="8112125" cy="1805282"/>
          </a:xfrm>
        </p:spPr>
        <p:txBody>
          <a:bodyPr/>
          <a:lstStyle>
            <a:lvl1pPr algn="l" defTabSz="68574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92306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5" y="324161"/>
            <a:ext cx="8580923" cy="628650"/>
          </a:xfrm>
        </p:spPr>
        <p:txBody>
          <a:bodyPr/>
          <a:lstStyle>
            <a:lvl1pPr algn="l" defTabSz="68574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3232" y="1008126"/>
            <a:ext cx="8570912" cy="3723894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110"/>
              </a:spcBef>
              <a:buClr>
                <a:srgbClr val="96CA4B"/>
              </a:buClr>
              <a:tabLst/>
              <a:defRPr sz="17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450"/>
              </a:spcBef>
              <a:tabLst/>
              <a:defRPr>
                <a:solidFill>
                  <a:schemeClr val="bg1"/>
                </a:solidFill>
                <a:latin typeface="+mj-lt"/>
              </a:defRPr>
            </a:lvl2pPr>
            <a:lvl3pPr>
              <a:tabLst/>
              <a:defRPr>
                <a:solidFill>
                  <a:schemeClr val="bg1"/>
                </a:solidFill>
                <a:latin typeface="+mj-lt"/>
              </a:defRPr>
            </a:lvl3pPr>
            <a:lvl4pPr>
              <a:tabLst/>
              <a:defRPr>
                <a:solidFill>
                  <a:schemeClr val="bg1"/>
                </a:solidFill>
                <a:latin typeface="+mj-lt"/>
              </a:defRPr>
            </a:lvl4pPr>
            <a:lvl5pPr>
              <a:tabLst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46815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9702" y="1004810"/>
            <a:ext cx="4021116" cy="3724275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110"/>
              </a:spcBef>
              <a:defRPr sz="1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450"/>
              </a:spcBef>
              <a:defRPr sz="1100">
                <a:solidFill>
                  <a:schemeClr val="bg1"/>
                </a:solidFill>
                <a:latin typeface="+mj-lt"/>
              </a:defRPr>
            </a:lvl2pPr>
            <a:lvl3pPr>
              <a:defRPr sz="900">
                <a:solidFill>
                  <a:schemeClr val="bg1"/>
                </a:solidFill>
                <a:latin typeface="+mj-lt"/>
              </a:defRPr>
            </a:lvl3pPr>
            <a:lvl4pPr>
              <a:defRPr sz="800">
                <a:solidFill>
                  <a:schemeClr val="bg1"/>
                </a:solidFill>
                <a:latin typeface="+mj-lt"/>
              </a:defRPr>
            </a:lvl4pPr>
            <a:lvl5pPr>
              <a:defRPr sz="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88185" y="1004810"/>
            <a:ext cx="4222440" cy="3724275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110"/>
              </a:spcBef>
              <a:defRPr sz="1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450"/>
              </a:spcBef>
              <a:defRPr sz="1100">
                <a:solidFill>
                  <a:schemeClr val="bg1"/>
                </a:solidFill>
                <a:latin typeface="+mj-lt"/>
              </a:defRPr>
            </a:lvl2pPr>
            <a:lvl3pPr>
              <a:defRPr sz="900">
                <a:solidFill>
                  <a:schemeClr val="bg1"/>
                </a:solidFill>
                <a:latin typeface="+mj-lt"/>
              </a:defRPr>
            </a:lvl3pPr>
            <a:lvl4pPr>
              <a:defRPr sz="800">
                <a:solidFill>
                  <a:schemeClr val="bg1"/>
                </a:solidFill>
                <a:latin typeface="+mj-lt"/>
              </a:defRPr>
            </a:lvl4pPr>
            <a:lvl5pPr>
              <a:defRPr sz="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29715" y="324161"/>
            <a:ext cx="8580923" cy="628650"/>
          </a:xfrm>
        </p:spPr>
        <p:txBody>
          <a:bodyPr/>
          <a:lstStyle>
            <a:lvl1pPr algn="l" defTabSz="68574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13425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4" y="324161"/>
            <a:ext cx="8580923" cy="628650"/>
          </a:xfrm>
        </p:spPr>
        <p:txBody>
          <a:bodyPr/>
          <a:lstStyle>
            <a:lvl1pPr algn="l" defTabSz="68574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26" y="1004810"/>
            <a:ext cx="4011105" cy="3724275"/>
          </a:xfrm>
        </p:spPr>
        <p:txBody>
          <a:bodyPr/>
          <a:lstStyle>
            <a:lvl1pPr>
              <a:lnSpc>
                <a:spcPct val="95000"/>
              </a:lnSpc>
              <a:spcBef>
                <a:spcPts val="1110"/>
              </a:spcBef>
              <a:defRPr sz="17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45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221224" y="1310764"/>
            <a:ext cx="3236976" cy="484748"/>
          </a:xfrm>
        </p:spPr>
        <p:txBody>
          <a:bodyPr>
            <a:noAutofit/>
          </a:bodyPr>
          <a:lstStyle>
            <a:lvl1pPr marL="85721" indent="-85721" algn="l" defTabSz="68574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85721" indent="-85721" algn="l" defTabSz="685748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21" indent="-85721" algn="l" defTabSz="685748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21" indent="-85721" algn="l" defTabSz="685748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21" indent="-85721" algn="l" defTabSz="685748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“This is the sample </a:t>
            </a:r>
            <a:br>
              <a:rPr lang="en-US" dirty="0" smtClean="0"/>
            </a:br>
            <a:r>
              <a:rPr lang="en-US" dirty="0" smtClean="0"/>
              <a:t>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309484" y="3552444"/>
            <a:ext cx="3237819" cy="25374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Source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39194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0" y="324161"/>
            <a:ext cx="8588861" cy="628650"/>
          </a:xfrm>
        </p:spPr>
        <p:txBody>
          <a:bodyPr/>
          <a:lstStyle>
            <a:lvl1pPr algn="l" defTabSz="68574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51442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226314"/>
            <a:ext cx="4123944" cy="628650"/>
          </a:xfrm>
          <a:ln>
            <a:solidFill>
              <a:schemeClr val="bg1">
                <a:lumMod val="50000"/>
              </a:schemeClr>
            </a:solidFill>
          </a:ln>
        </p:spPr>
        <p:txBody>
          <a:bodyPr vert="horz" lIns="61715" tIns="34288" rIns="61715" bIns="34288" rtlCol="0" anchor="t" anchorCtr="0">
            <a:noAutofit/>
          </a:bodyPr>
          <a:lstStyle>
            <a:lvl1pPr algn="l" defTabSz="68574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19455" y="1200150"/>
            <a:ext cx="4142232" cy="339471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476214" indent="-171438">
              <a:buClr>
                <a:schemeClr val="accent5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818888" y="1200150"/>
            <a:ext cx="4005072" cy="339471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476214" indent="-171438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822438" y="233172"/>
            <a:ext cx="3896359" cy="630936"/>
          </a:xfrm>
          <a:ln>
            <a:solidFill>
              <a:schemeClr val="bg1">
                <a:lumMod val="50000"/>
              </a:schemeClr>
            </a:solidFill>
          </a:ln>
        </p:spPr>
        <p:txBody>
          <a:bodyPr>
            <a:noAutofit/>
          </a:bodyPr>
          <a:lstStyle>
            <a:lvl1pPr marL="0" marR="0" indent="0" algn="l" defTabSz="68574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4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Righ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328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 flipV="1">
            <a:off x="217360" y="4766873"/>
            <a:ext cx="8694295" cy="1579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1439057"/>
            <a:ext cx="4117446" cy="2265389"/>
          </a:xfrm>
        </p:spPr>
        <p:txBody>
          <a:bodyPr vert="horz" lIns="82296" tIns="45720" rIns="82296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tx2">
                        <a:lumMod val="75000"/>
                      </a:schemeClr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233172"/>
            <a:ext cx="3992881" cy="4656582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 rot="5400000">
            <a:off x="2251466" y="2594398"/>
            <a:ext cx="4800600" cy="72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6000">
                <a:srgbClr val="008851"/>
              </a:gs>
              <a:gs pos="21000">
                <a:srgbClr val="01BBBB"/>
              </a:gs>
              <a:gs pos="100000">
                <a:schemeClr val="accent4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IN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ound Same Side Corner Rectangle 10"/>
          <p:cNvSpPr/>
          <p:nvPr userDrawn="1"/>
        </p:nvSpPr>
        <p:spPr>
          <a:xfrm rot="10800000">
            <a:off x="7361349" y="15983"/>
            <a:ext cx="935411" cy="198841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ound Same Side Corner Rectangle 11"/>
          <p:cNvSpPr/>
          <p:nvPr userDrawn="1"/>
        </p:nvSpPr>
        <p:spPr>
          <a:xfrm rot="10800000">
            <a:off x="8035757" y="15983"/>
            <a:ext cx="935411" cy="107705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alpha val="8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Rounded Rectangle 12"/>
          <p:cNvSpPr/>
          <p:nvPr userDrawn="1"/>
        </p:nvSpPr>
        <p:spPr>
          <a:xfrm>
            <a:off x="7433733" y="2665250"/>
            <a:ext cx="863026" cy="1392487"/>
          </a:xfrm>
          <a:prstGeom prst="roundRect">
            <a:avLst>
              <a:gd name="adj" fmla="val 50000"/>
            </a:avLst>
          </a:prstGeom>
          <a:solidFill>
            <a:srgbClr val="0096D6">
              <a:alpha val="8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333704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1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1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6" y="1200155"/>
            <a:ext cx="2622550" cy="329326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80" y="1200151"/>
            <a:ext cx="2593975" cy="32718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9" y="1200151"/>
            <a:ext cx="2633662" cy="325040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19516" y="75438"/>
            <a:ext cx="2668457" cy="864108"/>
          </a:xfrm>
          <a:ln>
            <a:solidFill>
              <a:schemeClr val="bg1">
                <a:lumMod val="50000"/>
              </a:schemeClr>
            </a:solidFill>
          </a:ln>
        </p:spPr>
        <p:txBody>
          <a:bodyPr anchor="b" anchorCtr="0">
            <a:noAutofit/>
          </a:bodyPr>
          <a:lstStyle>
            <a:lvl1pPr marL="0" marR="0" indent="0" algn="l" defTabSz="68574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3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4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258407" y="75438"/>
            <a:ext cx="2599859" cy="864108"/>
          </a:xfrm>
          <a:ln>
            <a:solidFill>
              <a:schemeClr val="bg1">
                <a:lumMod val="50000"/>
              </a:schemeClr>
            </a:solidFill>
          </a:ln>
        </p:spPr>
        <p:txBody>
          <a:bodyPr anchor="b" anchorCtr="0">
            <a:noAutofit/>
          </a:bodyPr>
          <a:lstStyle>
            <a:lvl1pPr marL="0" marR="0" indent="0" algn="l" defTabSz="68574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3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4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6272202" y="75438"/>
            <a:ext cx="2634158" cy="864108"/>
          </a:xfrm>
          <a:ln>
            <a:solidFill>
              <a:schemeClr val="bg1">
                <a:lumMod val="50000"/>
              </a:schemeClr>
            </a:solidFill>
          </a:ln>
        </p:spPr>
        <p:txBody>
          <a:bodyPr anchor="b" anchorCtr="0">
            <a:noAutofit/>
          </a:bodyPr>
          <a:lstStyle>
            <a:lvl1pPr marL="0" marR="0" indent="0" algn="l" defTabSz="68574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3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4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879797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246972" y="329783"/>
            <a:ext cx="8567244" cy="628650"/>
          </a:xfrm>
        </p:spPr>
        <p:txBody>
          <a:bodyPr/>
          <a:lstStyle>
            <a:lvl1pPr algn="l" defTabSz="68574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72" y="1107281"/>
            <a:ext cx="8439461" cy="3228975"/>
          </a:xfrm>
        </p:spPr>
        <p:txBody>
          <a:bodyPr anchor="ctr" anchorCtr="1"/>
          <a:lstStyle>
            <a:lvl1pPr>
              <a:buNone/>
              <a:defRPr>
                <a:latin typeface="+mj-lt"/>
              </a:defRPr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7" y="4546596"/>
            <a:ext cx="7461250" cy="207749"/>
          </a:xfrm>
        </p:spPr>
        <p:txBody>
          <a:bodyPr wrap="square" anchor="b" anchorCtr="0">
            <a:noAutofit/>
          </a:bodyPr>
          <a:lstStyle>
            <a:lvl1pPr algn="l" defTabSz="603601">
              <a:lnSpc>
                <a:spcPct val="100000"/>
              </a:lnSpc>
              <a:spcBef>
                <a:spcPct val="50000"/>
              </a:spcBef>
              <a:buNone/>
              <a:defRPr sz="9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83817117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4072683"/>
            <a:ext cx="8558698" cy="628650"/>
          </a:xfrm>
        </p:spPr>
        <p:txBody>
          <a:bodyPr vert="horz" lIns="61715" tIns="34288" rIns="61715" bIns="34288" rtlCol="0" anchor="b" anchorCtr="0">
            <a:noAutofit/>
          </a:bodyPr>
          <a:lstStyle>
            <a:lvl1pPr algn="l" defTabSz="68574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6888" y="1200150"/>
            <a:ext cx="4005072" cy="2811780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180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Simple text goes here and can wrap to accommodate more lines of information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4873752" y="1460754"/>
            <a:ext cx="3429000" cy="2242566"/>
          </a:xfrm>
        </p:spPr>
        <p:txBody>
          <a:bodyPr anchor="ctr" anchorCtr="1"/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267550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4072683"/>
            <a:ext cx="8558698" cy="628650"/>
          </a:xfrm>
        </p:spPr>
        <p:txBody>
          <a:bodyPr vert="horz" lIns="61715" tIns="34288" rIns="61715" bIns="34288" rtlCol="0" anchor="b" anchorCtr="0">
            <a:noAutofit/>
          </a:bodyPr>
          <a:lstStyle>
            <a:lvl1pPr algn="l" defTabSz="68574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9296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5176" y="4389130"/>
            <a:ext cx="8112126" cy="288131"/>
          </a:xfrm>
        </p:spPr>
        <p:txBody>
          <a:bodyPr anchor="b" anchorCtr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9464" y="486918"/>
            <a:ext cx="8112125" cy="3360420"/>
          </a:xfrm>
        </p:spPr>
        <p:txBody>
          <a:bodyPr/>
          <a:lstStyle>
            <a:lvl1pPr marL="175009" indent="-175009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567620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8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xmlns:p14="http://schemas.microsoft.com/office/powerpoint/2010/main" presetID="22" presetClass="entr" presetSubtype="4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4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1439065"/>
            <a:ext cx="4117446" cy="2265389"/>
          </a:xfrm>
        </p:spPr>
        <p:txBody>
          <a:bodyPr vert="horz" lIns="61715" tIns="34288" rIns="61715" bIns="34288" rtlCol="0" anchor="ctr" anchorCtr="0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233172"/>
            <a:ext cx="3895344" cy="4656582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1500" baseline="0">
                <a:solidFill>
                  <a:schemeClr val="bg1"/>
                </a:solidFill>
                <a:latin typeface="+mj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596434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97" y="3209554"/>
            <a:ext cx="4684867" cy="288131"/>
          </a:xfr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8707" y="2462028"/>
            <a:ext cx="4712557" cy="766763"/>
          </a:xfrm>
        </p:spPr>
        <p:txBody>
          <a:bodyPr vert="horz" lIns="61715" tIns="34288" rIns="61715" bIns="34288" rtlCol="0" anchor="b" anchorCtr="0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5540389" y="1438276"/>
            <a:ext cx="2676525" cy="2166938"/>
          </a:xfrm>
        </p:spPr>
        <p:txBody>
          <a:bodyPr anchor="ctr" anchorCtr="1"/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grpSp>
        <p:nvGrpSpPr>
          <p:cNvPr id="24" name="Group 67"/>
          <p:cNvGrpSpPr/>
          <p:nvPr userDrawn="1"/>
        </p:nvGrpSpPr>
        <p:grpSpPr>
          <a:xfrm>
            <a:off x="341800" y="226414"/>
            <a:ext cx="691030" cy="368312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25" name="Rectangle 24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748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065066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9" name="Rounded Rectangle 8"/>
          <p:cNvSpPr/>
          <p:nvPr userDrawn="1"/>
        </p:nvSpPr>
        <p:spPr>
          <a:xfrm>
            <a:off x="1823499" y="-2683566"/>
            <a:ext cx="1729740" cy="1051063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ounded Rectangle 9"/>
          <p:cNvSpPr/>
          <p:nvPr userDrawn="1"/>
        </p:nvSpPr>
        <p:spPr>
          <a:xfrm>
            <a:off x="0" y="-483912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ounded Rectangle 10"/>
          <p:cNvSpPr/>
          <p:nvPr userDrawn="1"/>
        </p:nvSpPr>
        <p:spPr>
          <a:xfrm rot="10800000">
            <a:off x="1013792" y="-483912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6375620" y="1283399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8105452" y="626174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Rounded Rectangle 13"/>
          <p:cNvSpPr/>
          <p:nvPr/>
        </p:nvSpPr>
        <p:spPr>
          <a:xfrm rot="10800000">
            <a:off x="3036073" y="-2533236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" y="363475"/>
            <a:ext cx="8755128" cy="3279098"/>
          </a:xfrm>
        </p:spPr>
        <p:txBody>
          <a:bodyPr anchor="b" anchorCtr="0"/>
          <a:lstStyle>
            <a:lvl1pPr marL="171438" indent="-171438">
              <a:buFont typeface="Arial" pitchFamily="34" charset="0"/>
              <a:buChar char="“"/>
              <a:defRPr sz="45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”</a:t>
            </a:r>
            <a:endParaRPr lang="en-US" dirty="0"/>
          </a:p>
        </p:txBody>
      </p:sp>
      <p:sp>
        <p:nvSpPr>
          <p:cNvPr id="28" name="Rectangle 5"/>
          <p:cNvSpPr>
            <a:spLocks noChangeArrowheads="1"/>
          </p:cNvSpPr>
          <p:nvPr/>
        </p:nvSpPr>
        <p:spPr bwMode="ltGray">
          <a:xfrm>
            <a:off x="7762667" y="4930699"/>
            <a:ext cx="812991" cy="139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44"/>
            <a:r>
              <a:rPr lang="en-US" sz="5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7762667" y="4930699"/>
            <a:ext cx="812991" cy="139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44"/>
            <a:r>
              <a:rPr lang="en-US" sz="5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01194" y="4019179"/>
            <a:ext cx="8574685" cy="460772"/>
          </a:xfrm>
        </p:spPr>
        <p:txBody>
          <a:bodyPr vert="horz" lIns="68574" tIns="34288" rIns="68574" bIns="34288" rtlCol="0">
            <a:noAutofit/>
          </a:bodyPr>
          <a:lstStyle>
            <a:lvl1pPr marL="0" indent="0">
              <a:buNone/>
              <a:defRPr lang="en-US" sz="1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ource</a:t>
            </a:r>
            <a:endParaRPr lang="en-US" dirty="0"/>
          </a:p>
        </p:txBody>
      </p:sp>
      <p:sp>
        <p:nvSpPr>
          <p:cNvPr id="18" name="Rectangle 4"/>
          <p:cNvSpPr>
            <a:spLocks noChangeArrowheads="1"/>
          </p:cNvSpPr>
          <p:nvPr userDrawn="1"/>
        </p:nvSpPr>
        <p:spPr bwMode="ltGray">
          <a:xfrm>
            <a:off x="265679" y="4932001"/>
            <a:ext cx="3420515" cy="139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 anchorCtr="0">
            <a:spAutoFit/>
          </a:bodyPr>
          <a:lstStyle/>
          <a:p>
            <a:pPr defTabSz="610744"/>
            <a:r>
              <a:rPr lang="en-US" sz="500" dirty="0" smtClean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7"/>
          <p:cNvSpPr>
            <a:spLocks noChangeArrowheads="1"/>
          </p:cNvSpPr>
          <p:nvPr userDrawn="1"/>
        </p:nvSpPr>
        <p:spPr bwMode="ltGray">
          <a:xfrm>
            <a:off x="8678630" y="4927621"/>
            <a:ext cx="202740" cy="1391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/>
            <a:fld id="{DFCF27A5-1A5B-48D3-A060-2758FFBB1ADD}" type="slidenum">
              <a:rPr lang="en-US" sz="500">
                <a:solidFill>
                  <a:srgbClr val="FFFFFF"/>
                </a:solidFill>
                <a:latin typeface="Arial"/>
              </a:rPr>
              <a:pPr algn="r" defTabSz="610744"/>
              <a:t>‹#›</a:t>
            </a:fld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21731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2" grpId="0"/>
      <p:bldP spid="7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29" name="Rectangle 28"/>
          <p:cNvSpPr/>
          <p:nvPr/>
        </p:nvSpPr>
        <p:spPr>
          <a:xfrm>
            <a:off x="1891875" y="596646"/>
            <a:ext cx="5349240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891875" y="3595766"/>
            <a:ext cx="5347552" cy="7472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900238" y="596646"/>
            <a:ext cx="5329238" cy="300380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36659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32" name="Rectangle 31"/>
          <p:cNvSpPr/>
          <p:nvPr/>
        </p:nvSpPr>
        <p:spPr>
          <a:xfrm>
            <a:off x="338329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38329" y="233172"/>
            <a:ext cx="3273552" cy="184480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29703" y="2571750"/>
            <a:ext cx="7009298" cy="1066446"/>
          </a:xfrm>
        </p:spPr>
        <p:txBody>
          <a:bodyPr anchor="t">
            <a:noAutofit/>
          </a:bodyPr>
          <a:lstStyle>
            <a:lvl1pPr marL="0" marR="0" indent="0" algn="l" defTabSz="68574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Large photo </a:t>
            </a:r>
            <a:br>
              <a:rPr lang="en-US" dirty="0" smtClean="0"/>
            </a:br>
            <a:r>
              <a:rPr lang="en-US" dirty="0" smtClean="0"/>
              <a:t>caption here.</a:t>
            </a:r>
          </a:p>
        </p:txBody>
      </p:sp>
    </p:spTree>
    <p:extLst>
      <p:ext uri="{BB962C8B-B14F-4D97-AF65-F5344CB8AC3E}">
        <p14:creationId xmlns:p14="http://schemas.microsoft.com/office/powerpoint/2010/main" val="264345756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 Same Side Corner Rectangle 13"/>
          <p:cNvSpPr/>
          <p:nvPr userDrawn="1"/>
        </p:nvSpPr>
        <p:spPr>
          <a:xfrm rot="10800000" flipV="1">
            <a:off x="1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891875" y="596646"/>
            <a:ext cx="5349240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891874" y="3595765"/>
            <a:ext cx="5347552" cy="7472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900238" y="596646"/>
            <a:ext cx="5329238" cy="300380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ltGray">
          <a:xfrm>
            <a:off x="251376" y="4931497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16" name="Rectangle 5"/>
          <p:cNvSpPr>
            <a:spLocks noChangeArrowheads="1"/>
          </p:cNvSpPr>
          <p:nvPr userDrawn="1"/>
        </p:nvSpPr>
        <p:spPr bwMode="ltGray">
          <a:xfrm>
            <a:off x="7789664" y="4930196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ltGray">
          <a:xfrm>
            <a:off x="8640522" y="4927118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24" name="Round Same Side Corner Rectangle 23"/>
          <p:cNvSpPr/>
          <p:nvPr userDrawn="1"/>
        </p:nvSpPr>
        <p:spPr>
          <a:xfrm rot="10800000">
            <a:off x="7547671" y="8807"/>
            <a:ext cx="825289" cy="175432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Round Same Side Corner Rectangle 24"/>
          <p:cNvSpPr/>
          <p:nvPr userDrawn="1"/>
        </p:nvSpPr>
        <p:spPr>
          <a:xfrm rot="10800000">
            <a:off x="8222079" y="8808"/>
            <a:ext cx="825289" cy="95026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Rounded Rectangle 26"/>
          <p:cNvSpPr/>
          <p:nvPr userDrawn="1"/>
        </p:nvSpPr>
        <p:spPr>
          <a:xfrm>
            <a:off x="7611533" y="2677126"/>
            <a:ext cx="761426" cy="1228556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  <a:alpha val="2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9205159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40" name="Rectangle 39"/>
          <p:cNvSpPr/>
          <p:nvPr/>
        </p:nvSpPr>
        <p:spPr>
          <a:xfrm>
            <a:off x="4992624" y="644652"/>
            <a:ext cx="3630168" cy="3771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992624" y="644652"/>
            <a:ext cx="3630168" cy="37719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546730"/>
            <a:ext cx="4349918" cy="93917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43342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48" name="Rectangle 47"/>
          <p:cNvSpPr/>
          <p:nvPr/>
        </p:nvSpPr>
        <p:spPr>
          <a:xfrm>
            <a:off x="3668713" y="233363"/>
            <a:ext cx="3268136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669003" y="233363"/>
            <a:ext cx="3267861" cy="1995489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334963" y="233363"/>
            <a:ext cx="3287736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20831" y="233363"/>
            <a:ext cx="3302001" cy="1995489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979833" y="233363"/>
            <a:ext cx="1838730" cy="98107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2" name="Rectangle 51"/>
          <p:cNvSpPr/>
          <p:nvPr/>
        </p:nvSpPr>
        <p:spPr>
          <a:xfrm>
            <a:off x="334977" y="2271722"/>
            <a:ext cx="2523161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320824" y="2271722"/>
            <a:ext cx="2537420" cy="25942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4" name="Rectangle 53"/>
          <p:cNvSpPr/>
          <p:nvPr/>
        </p:nvSpPr>
        <p:spPr>
          <a:xfrm>
            <a:off x="2911476" y="2271722"/>
            <a:ext cx="4025374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2908334" y="2271722"/>
            <a:ext cx="4028516" cy="25942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6979833" y="1262753"/>
            <a:ext cx="1838730" cy="258161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6979833" y="1257301"/>
            <a:ext cx="1838730" cy="2587058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6979833" y="3887223"/>
            <a:ext cx="1838730" cy="97869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17551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38328" y="233181"/>
            <a:ext cx="8476488" cy="455654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rtlCol="0" anchor="ctr"/>
          <a:lstStyle/>
          <a:p>
            <a:pPr algn="ctr" defTabSz="685748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333389" y="233182"/>
            <a:ext cx="8474869" cy="4540639"/>
          </a:xfrm>
          <a:ln>
            <a:solidFill>
              <a:srgbClr val="08252E"/>
            </a:solidFill>
          </a:ln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Photo placeholder</a:t>
            </a:r>
            <a:endParaRPr lang="en-US" dirty="0"/>
          </a:p>
        </p:txBody>
      </p:sp>
      <p:pic>
        <p:nvPicPr>
          <p:cNvPr id="9" name="Picture 8" descr="segue textur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3375" y="4786092"/>
            <a:ext cx="8477250" cy="12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38731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Full bleed image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03578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pic>
        <p:nvPicPr>
          <p:cNvPr id="55" name="Picture 54" descr="texture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700" y="1344"/>
            <a:ext cx="9156700" cy="5142161"/>
          </a:xfrm>
          <a:prstGeom prst="rect">
            <a:avLst/>
          </a:prstGeom>
        </p:spPr>
      </p:pic>
      <p:sp>
        <p:nvSpPr>
          <p:cNvPr id="21" name="Media Placeholder 20"/>
          <p:cNvSpPr>
            <a:spLocks noGrp="1"/>
          </p:cNvSpPr>
          <p:nvPr>
            <p:ph type="media" sz="quarter" idx="10" hasCustomPrompt="1"/>
          </p:nvPr>
        </p:nvSpPr>
        <p:spPr>
          <a:xfrm>
            <a:off x="4391620" y="584002"/>
            <a:ext cx="4424562" cy="3319272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video</a:t>
            </a:r>
            <a:endParaRPr lang="en-US" dirty="0"/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341800" y="4572002"/>
            <a:ext cx="631526" cy="335757"/>
            <a:chOff x="384" y="331"/>
            <a:chExt cx="912" cy="485"/>
          </a:xfrm>
        </p:grpSpPr>
        <p:sp>
          <p:nvSpPr>
            <p:cNvPr id="23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5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6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7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8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9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0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1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2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3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4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5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6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7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74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554937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562940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34" name="Rectangle 33"/>
          <p:cNvSpPr>
            <a:spLocks noChangeArrowheads="1"/>
          </p:cNvSpPr>
          <p:nvPr userDrawn="1"/>
        </p:nvSpPr>
        <p:spPr bwMode="black">
          <a:xfrm>
            <a:off x="4414521" y="4383413"/>
            <a:ext cx="31090" cy="1177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5" name="Freeform 34"/>
          <p:cNvSpPr>
            <a:spLocks/>
          </p:cNvSpPr>
          <p:nvPr userDrawn="1"/>
        </p:nvSpPr>
        <p:spPr bwMode="black">
          <a:xfrm>
            <a:off x="4595652" y="4380152"/>
            <a:ext cx="90017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6" name="Freeform 35"/>
          <p:cNvSpPr>
            <a:spLocks/>
          </p:cNvSpPr>
          <p:nvPr userDrawn="1"/>
        </p:nvSpPr>
        <p:spPr bwMode="black">
          <a:xfrm>
            <a:off x="4284389" y="4380152"/>
            <a:ext cx="90017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 noEditPoints="1"/>
          </p:cNvSpPr>
          <p:nvPr userDrawn="1"/>
        </p:nvSpPr>
        <p:spPr bwMode="black">
          <a:xfrm>
            <a:off x="4718200" y="4380152"/>
            <a:ext cx="123637" cy="124284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/>
          </p:cNvSpPr>
          <p:nvPr userDrawn="1"/>
        </p:nvSpPr>
        <p:spPr bwMode="black">
          <a:xfrm>
            <a:off x="4485752" y="4380152"/>
            <a:ext cx="80617" cy="124284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/>
          </p:cNvSpPr>
          <p:nvPr userDrawn="1"/>
        </p:nvSpPr>
        <p:spPr bwMode="black">
          <a:xfrm>
            <a:off x="4222558" y="4240648"/>
            <a:ext cx="29282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 userDrawn="1"/>
        </p:nvSpPr>
        <p:spPr bwMode="black">
          <a:xfrm>
            <a:off x="4304621" y="4200066"/>
            <a:ext cx="29282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4385239" y="4144275"/>
            <a:ext cx="29282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4467302" y="4200066"/>
            <a:ext cx="29282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4547558" y="4240648"/>
            <a:ext cx="31090" cy="6051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4629622" y="4200066"/>
            <a:ext cx="29644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4711686" y="4144275"/>
            <a:ext cx="29644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4792302" y="4200066"/>
            <a:ext cx="29644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4874366" y="4240648"/>
            <a:ext cx="29644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8522836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</p:bld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34" name="TextBox 33"/>
          <p:cNvSpPr txBox="1"/>
          <p:nvPr userDrawn="1"/>
        </p:nvSpPr>
        <p:spPr>
          <a:xfrm>
            <a:off x="644700" y="2295368"/>
            <a:ext cx="1851471" cy="484744"/>
          </a:xfrm>
          <a:prstGeom prst="rect">
            <a:avLst/>
          </a:prstGeom>
          <a:noFill/>
        </p:spPr>
        <p:txBody>
          <a:bodyPr wrap="none" lIns="68574" tIns="34288" rIns="68574" bIns="34288" rtlCol="0">
            <a:spAutoFit/>
          </a:bodyPr>
          <a:lstStyle/>
          <a:p>
            <a:pPr defTabSz="685748"/>
            <a:r>
              <a:rPr lang="en-US" sz="2700" dirty="0" smtClean="0">
                <a:solidFill>
                  <a:srgbClr val="FFFFFF"/>
                </a:solidFill>
                <a:latin typeface="Arial"/>
              </a:rPr>
              <a:t>Thank you.</a:t>
            </a:r>
            <a:endParaRPr lang="en-US" sz="27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" name="Rectangle 19"/>
          <p:cNvSpPr>
            <a:spLocks noChangeArrowheads="1"/>
          </p:cNvSpPr>
          <p:nvPr userDrawn="1"/>
        </p:nvSpPr>
        <p:spPr bwMode="black">
          <a:xfrm>
            <a:off x="6308661" y="2781454"/>
            <a:ext cx="87485" cy="33137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black">
          <a:xfrm>
            <a:off x="6818318" y="2773205"/>
            <a:ext cx="253297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5942461" y="2773205"/>
            <a:ext cx="253297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3" name="Freeform 22"/>
          <p:cNvSpPr>
            <a:spLocks noEditPoints="1"/>
          </p:cNvSpPr>
          <p:nvPr userDrawn="1"/>
        </p:nvSpPr>
        <p:spPr bwMode="black">
          <a:xfrm>
            <a:off x="7163167" y="2773205"/>
            <a:ext cx="347903" cy="349723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4" name="Freeform 23"/>
          <p:cNvSpPr>
            <a:spLocks/>
          </p:cNvSpPr>
          <p:nvPr userDrawn="1"/>
        </p:nvSpPr>
        <p:spPr bwMode="black">
          <a:xfrm>
            <a:off x="6509065" y="2773205"/>
            <a:ext cx="226849" cy="349723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5" name="Freeform 24"/>
          <p:cNvSpPr>
            <a:spLocks/>
          </p:cNvSpPr>
          <p:nvPr userDrawn="1"/>
        </p:nvSpPr>
        <p:spPr bwMode="black">
          <a:xfrm>
            <a:off x="5768495" y="2311830"/>
            <a:ext cx="82398" cy="170274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6" name="Freeform 25"/>
          <p:cNvSpPr>
            <a:spLocks/>
          </p:cNvSpPr>
          <p:nvPr userDrawn="1"/>
        </p:nvSpPr>
        <p:spPr bwMode="black">
          <a:xfrm>
            <a:off x="5999412" y="2197636"/>
            <a:ext cx="82398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7" name="Freeform 26"/>
          <p:cNvSpPr>
            <a:spLocks/>
          </p:cNvSpPr>
          <p:nvPr userDrawn="1"/>
        </p:nvSpPr>
        <p:spPr bwMode="black">
          <a:xfrm>
            <a:off x="6226265" y="2040626"/>
            <a:ext cx="82398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8" name="Freeform 27"/>
          <p:cNvSpPr>
            <a:spLocks/>
          </p:cNvSpPr>
          <p:nvPr userDrawn="1"/>
        </p:nvSpPr>
        <p:spPr bwMode="black">
          <a:xfrm>
            <a:off x="6457182" y="2197637"/>
            <a:ext cx="82398" cy="28446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black">
          <a:xfrm>
            <a:off x="6683021" y="2311840"/>
            <a:ext cx="87485" cy="17027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0" name="Freeform 29"/>
          <p:cNvSpPr>
            <a:spLocks/>
          </p:cNvSpPr>
          <p:nvPr userDrawn="1"/>
        </p:nvSpPr>
        <p:spPr bwMode="black">
          <a:xfrm>
            <a:off x="6913945" y="2197636"/>
            <a:ext cx="83415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1" name="Freeform 30"/>
          <p:cNvSpPr>
            <a:spLocks/>
          </p:cNvSpPr>
          <p:nvPr userDrawn="1"/>
        </p:nvSpPr>
        <p:spPr bwMode="black">
          <a:xfrm>
            <a:off x="7144863" y="2040626"/>
            <a:ext cx="83415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2" name="Freeform 31"/>
          <p:cNvSpPr>
            <a:spLocks/>
          </p:cNvSpPr>
          <p:nvPr userDrawn="1"/>
        </p:nvSpPr>
        <p:spPr bwMode="black">
          <a:xfrm>
            <a:off x="7371711" y="2197636"/>
            <a:ext cx="83415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3" name="Freeform 32"/>
          <p:cNvSpPr>
            <a:spLocks/>
          </p:cNvSpPr>
          <p:nvPr userDrawn="1"/>
        </p:nvSpPr>
        <p:spPr bwMode="black">
          <a:xfrm>
            <a:off x="7602630" y="2311840"/>
            <a:ext cx="83415" cy="17027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4938314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22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</p:bld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Complex_Gradient7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" name="Rectangle 35"/>
          <p:cNvSpPr>
            <a:spLocks noChangeArrowheads="1"/>
          </p:cNvSpPr>
          <p:nvPr userDrawn="1"/>
        </p:nvSpPr>
        <p:spPr bwMode="black">
          <a:xfrm>
            <a:off x="4414521" y="4383413"/>
            <a:ext cx="31090" cy="1177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/>
          </p:cNvSpPr>
          <p:nvPr userDrawn="1"/>
        </p:nvSpPr>
        <p:spPr bwMode="black">
          <a:xfrm>
            <a:off x="4595652" y="4380152"/>
            <a:ext cx="90017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/>
          </p:cNvSpPr>
          <p:nvPr userDrawn="1"/>
        </p:nvSpPr>
        <p:spPr bwMode="black">
          <a:xfrm>
            <a:off x="4284389" y="4380152"/>
            <a:ext cx="90017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 noEditPoints="1"/>
          </p:cNvSpPr>
          <p:nvPr userDrawn="1"/>
        </p:nvSpPr>
        <p:spPr bwMode="black">
          <a:xfrm>
            <a:off x="4718200" y="4380152"/>
            <a:ext cx="123637" cy="124284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 userDrawn="1"/>
        </p:nvSpPr>
        <p:spPr bwMode="black">
          <a:xfrm>
            <a:off x="4485752" y="4380152"/>
            <a:ext cx="80617" cy="124284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4222558" y="4240648"/>
            <a:ext cx="29282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4304621" y="4200066"/>
            <a:ext cx="29282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4385239" y="4144275"/>
            <a:ext cx="29282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4467302" y="4200066"/>
            <a:ext cx="29282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4547558" y="4240648"/>
            <a:ext cx="31090" cy="6051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4629622" y="4200066"/>
            <a:ext cx="29644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4711686" y="4144275"/>
            <a:ext cx="29644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4792302" y="4200066"/>
            <a:ext cx="29644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4874366" y="4240648"/>
            <a:ext cx="29644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1428476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</p:bld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Complex_Gradient7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4" name="TextBox 33"/>
          <p:cNvSpPr txBox="1"/>
          <p:nvPr userDrawn="1"/>
        </p:nvSpPr>
        <p:spPr>
          <a:xfrm>
            <a:off x="644700" y="2295368"/>
            <a:ext cx="1851471" cy="484744"/>
          </a:xfrm>
          <a:prstGeom prst="rect">
            <a:avLst/>
          </a:prstGeom>
          <a:noFill/>
        </p:spPr>
        <p:txBody>
          <a:bodyPr wrap="none" lIns="68574" tIns="34288" rIns="68574" bIns="34288" rtlCol="0">
            <a:spAutoFit/>
          </a:bodyPr>
          <a:lstStyle/>
          <a:p>
            <a:pPr defTabSz="685748"/>
            <a:r>
              <a:rPr lang="en-US" sz="2700" dirty="0" smtClean="0">
                <a:solidFill>
                  <a:srgbClr val="FFFFFF"/>
                </a:solidFill>
                <a:latin typeface="Arial"/>
              </a:rPr>
              <a:t>Thank you.</a:t>
            </a:r>
            <a:endParaRPr lang="en-US" sz="27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ectangle 34"/>
          <p:cNvSpPr>
            <a:spLocks noChangeArrowheads="1"/>
          </p:cNvSpPr>
          <p:nvPr userDrawn="1"/>
        </p:nvSpPr>
        <p:spPr bwMode="black">
          <a:xfrm>
            <a:off x="6308661" y="2781454"/>
            <a:ext cx="87485" cy="33137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6" name="Freeform 35"/>
          <p:cNvSpPr>
            <a:spLocks/>
          </p:cNvSpPr>
          <p:nvPr userDrawn="1"/>
        </p:nvSpPr>
        <p:spPr bwMode="black">
          <a:xfrm>
            <a:off x="6818318" y="2773205"/>
            <a:ext cx="253297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/>
          </p:cNvSpPr>
          <p:nvPr userDrawn="1"/>
        </p:nvSpPr>
        <p:spPr bwMode="black">
          <a:xfrm>
            <a:off x="5942461" y="2773205"/>
            <a:ext cx="253297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 noEditPoints="1"/>
          </p:cNvSpPr>
          <p:nvPr userDrawn="1"/>
        </p:nvSpPr>
        <p:spPr bwMode="black">
          <a:xfrm>
            <a:off x="7163167" y="2773205"/>
            <a:ext cx="347903" cy="349723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/>
          </p:cNvSpPr>
          <p:nvPr userDrawn="1"/>
        </p:nvSpPr>
        <p:spPr bwMode="black">
          <a:xfrm>
            <a:off x="6509065" y="2773205"/>
            <a:ext cx="226849" cy="349723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 userDrawn="1"/>
        </p:nvSpPr>
        <p:spPr bwMode="black">
          <a:xfrm>
            <a:off x="5768495" y="2311830"/>
            <a:ext cx="82398" cy="170274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5999412" y="2197636"/>
            <a:ext cx="82398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6226265" y="2040626"/>
            <a:ext cx="82398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6457182" y="2197637"/>
            <a:ext cx="82398" cy="28446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6683021" y="2311840"/>
            <a:ext cx="87485" cy="17027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6913945" y="2197636"/>
            <a:ext cx="83415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7144863" y="2040626"/>
            <a:ext cx="83415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7371711" y="2197636"/>
            <a:ext cx="83415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7602630" y="2311840"/>
            <a:ext cx="83415" cy="17027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74" tIns="34288" rIns="68574" bIns="34288"/>
          <a:lstStyle/>
          <a:p>
            <a:pPr defTabSz="685748"/>
            <a:endParaRPr lang="en-US" sz="140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4870536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37" grpId="0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50" grpId="0" animBg="1"/>
      <p:bldP spid="50" grpId="1" animBg="1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>
          <a:xfrm rot="10800000" flipV="1">
            <a:off x="1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51376" y="4931497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12" name="Rectangle 5"/>
          <p:cNvSpPr>
            <a:spLocks noChangeArrowheads="1"/>
          </p:cNvSpPr>
          <p:nvPr userDrawn="1"/>
        </p:nvSpPr>
        <p:spPr bwMode="ltGray">
          <a:xfrm>
            <a:off x="7789664" y="4930196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40522" y="4927118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38328" y="233172"/>
            <a:ext cx="4453978" cy="251002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38328" y="233172"/>
            <a:ext cx="4453978" cy="2510028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29703" y="2978150"/>
            <a:ext cx="7009298" cy="1466850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 dirty="0" smtClean="0"/>
              <a:t>Large photo </a:t>
            </a:r>
            <a:br>
              <a:rPr lang="en-US" dirty="0" smtClean="0"/>
            </a:br>
            <a:r>
              <a:rPr lang="en-US" dirty="0" smtClean="0"/>
              <a:t>caption here.</a:t>
            </a:r>
          </a:p>
        </p:txBody>
      </p:sp>
      <p:sp>
        <p:nvSpPr>
          <p:cNvPr id="14" name="Round Same Side Corner Rectangle 13"/>
          <p:cNvSpPr/>
          <p:nvPr userDrawn="1"/>
        </p:nvSpPr>
        <p:spPr>
          <a:xfrm rot="10800000">
            <a:off x="7547671" y="8807"/>
            <a:ext cx="825289" cy="175432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Rounded Rectangle 15"/>
          <p:cNvSpPr/>
          <p:nvPr userDrawn="1"/>
        </p:nvSpPr>
        <p:spPr>
          <a:xfrm>
            <a:off x="7611533" y="2677126"/>
            <a:ext cx="761426" cy="1228556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  <a:alpha val="2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Round Same Side Corner Rectangle 16"/>
          <p:cNvSpPr/>
          <p:nvPr userDrawn="1"/>
        </p:nvSpPr>
        <p:spPr>
          <a:xfrm rot="10800000">
            <a:off x="8222079" y="8808"/>
            <a:ext cx="825289" cy="95026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318407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/>
          <p:cNvSpPr/>
          <p:nvPr/>
        </p:nvSpPr>
        <p:spPr>
          <a:xfrm>
            <a:off x="3405361" y="4461478"/>
            <a:ext cx="599089" cy="8592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460948" y="4461478"/>
            <a:ext cx="472965" cy="859220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771705" y="4461478"/>
            <a:ext cx="472965" cy="859220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/>
        </p:nvSpPr>
        <p:spPr>
          <a:xfrm rot="10800000" flipH="1">
            <a:off x="2856506" y="623458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Rounded Rectangle 27"/>
          <p:cNvSpPr/>
          <p:nvPr userDrawn="1"/>
        </p:nvSpPr>
        <p:spPr>
          <a:xfrm rot="10800000" flipH="1">
            <a:off x="821966" y="3537586"/>
            <a:ext cx="656314" cy="11306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Rounded Rectangle 28"/>
          <p:cNvSpPr/>
          <p:nvPr userDrawn="1"/>
        </p:nvSpPr>
        <p:spPr>
          <a:xfrm rot="10800000" flipH="1">
            <a:off x="1332506" y="1485904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>
          <a:xfrm rot="10800000" flipH="1">
            <a:off x="5869870" y="4960620"/>
            <a:ext cx="780312" cy="2489662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 rot="10800000" flipH="1">
            <a:off x="6933207" y="4960621"/>
            <a:ext cx="656314" cy="11306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Rounded Rectangle 33"/>
          <p:cNvSpPr/>
          <p:nvPr/>
        </p:nvSpPr>
        <p:spPr>
          <a:xfrm rot="10800000" flipH="1">
            <a:off x="2191491" y="5039593"/>
            <a:ext cx="662549" cy="474829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ounded Rectangle 34"/>
          <p:cNvSpPr/>
          <p:nvPr/>
        </p:nvSpPr>
        <p:spPr>
          <a:xfrm rot="10800000" flipH="1">
            <a:off x="2794162" y="5001450"/>
            <a:ext cx="779356" cy="415973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" name="Rounded Rectangle 35"/>
          <p:cNvSpPr/>
          <p:nvPr/>
        </p:nvSpPr>
        <p:spPr>
          <a:xfrm rot="10800000" flipH="1">
            <a:off x="4920835" y="768931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" name="Rounded Rectangle 36"/>
          <p:cNvSpPr/>
          <p:nvPr/>
        </p:nvSpPr>
        <p:spPr>
          <a:xfrm rot="10800000" flipH="1">
            <a:off x="5391889" y="1298867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Rounded Rectangle 37"/>
          <p:cNvSpPr/>
          <p:nvPr userDrawn="1"/>
        </p:nvSpPr>
        <p:spPr>
          <a:xfrm rot="10800000" flipH="1">
            <a:off x="341314" y="5031567"/>
            <a:ext cx="780312" cy="248966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Rounded Rectangle 38"/>
          <p:cNvSpPr/>
          <p:nvPr/>
        </p:nvSpPr>
        <p:spPr>
          <a:xfrm rot="10800000" flipH="1">
            <a:off x="8038251" y="6238704"/>
            <a:ext cx="780312" cy="2489662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1" name="Rounded Rectangle 40"/>
          <p:cNvSpPr/>
          <p:nvPr/>
        </p:nvSpPr>
        <p:spPr>
          <a:xfrm rot="10800000" flipH="1">
            <a:off x="8162250" y="1298867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" name="Rounded Rectangle 41"/>
          <p:cNvSpPr/>
          <p:nvPr/>
        </p:nvSpPr>
        <p:spPr>
          <a:xfrm rot="10800000" flipH="1">
            <a:off x="3770907" y="1485904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0" y="1789"/>
            <a:ext cx="9129008" cy="4783736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1" y="4908953"/>
            <a:ext cx="9129008" cy="234551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55"/>
            <a:ext cx="8112126" cy="288131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15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42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6858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936176"/>
            <a:ext cx="8112125" cy="2180429"/>
          </a:xfrm>
        </p:spPr>
        <p:txBody>
          <a:bodyPr/>
          <a:lstStyle>
            <a:lvl1pPr algn="l" defTabSz="68589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grpSp>
        <p:nvGrpSpPr>
          <p:cNvPr id="91" name="Group 67"/>
          <p:cNvGrpSpPr/>
          <p:nvPr userDrawn="1"/>
        </p:nvGrpSpPr>
        <p:grpSpPr>
          <a:xfrm>
            <a:off x="341807" y="226414"/>
            <a:ext cx="630141" cy="335858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92" name="Rectangle 9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5" name="Freeform 94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</p:grpSp>
      <p:sp>
        <p:nvSpPr>
          <p:cNvPr id="56" name="Rectangle 4"/>
          <p:cNvSpPr>
            <a:spLocks noChangeArrowheads="1"/>
          </p:cNvSpPr>
          <p:nvPr userDrawn="1"/>
        </p:nvSpPr>
        <p:spPr bwMode="ltGray">
          <a:xfrm>
            <a:off x="265674" y="4931983"/>
            <a:ext cx="3420515" cy="13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601" tIns="30800" rIns="61601" bIns="30800" anchor="b" anchorCtr="0">
            <a:spAutoFit/>
          </a:bodyPr>
          <a:lstStyle/>
          <a:p>
            <a:pPr defTabSz="610872"/>
            <a:r>
              <a:rPr lang="en-US" sz="5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7" name="Rectangle 5"/>
          <p:cNvSpPr>
            <a:spLocks noChangeArrowheads="1"/>
          </p:cNvSpPr>
          <p:nvPr userDrawn="1"/>
        </p:nvSpPr>
        <p:spPr bwMode="ltGray">
          <a:xfrm>
            <a:off x="7934465" y="4930683"/>
            <a:ext cx="641186" cy="13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601" tIns="30800" rIns="61601" bIns="30800" anchor="b">
            <a:spAutoFit/>
          </a:bodyPr>
          <a:lstStyle/>
          <a:p>
            <a:pPr algn="r" defTabSz="610872"/>
            <a:r>
              <a:rPr lang="en-US" sz="5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8" name="Rectangle 7"/>
          <p:cNvSpPr>
            <a:spLocks noChangeArrowheads="1"/>
          </p:cNvSpPr>
          <p:nvPr userDrawn="1"/>
        </p:nvSpPr>
        <p:spPr bwMode="ltGray">
          <a:xfrm>
            <a:off x="8678606" y="4927605"/>
            <a:ext cx="202771" cy="139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601" tIns="30800" rIns="61601" bIns="30800" anchor="b">
            <a:spAutoFit/>
          </a:bodyPr>
          <a:lstStyle/>
          <a:p>
            <a:pPr algn="r" defTabSz="610872"/>
            <a:fld id="{DFCF27A5-1A5B-48D3-A060-2758FFBB1ADD}" type="slidenum">
              <a:rPr lang="en-US" sz="500">
                <a:solidFill>
                  <a:srgbClr val="C0C0C0"/>
                </a:solidFill>
                <a:latin typeface="Arial"/>
              </a:rPr>
              <a:pPr algn="r" defTabSz="610872"/>
              <a:t>‹#›</a:t>
            </a:fld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0" hasCustomPrompt="1"/>
          </p:nvPr>
        </p:nvSpPr>
        <p:spPr>
          <a:xfrm>
            <a:off x="235806" y="3589445"/>
            <a:ext cx="8110268" cy="296466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1" hasCustomPrompt="1"/>
          </p:nvPr>
        </p:nvSpPr>
        <p:spPr>
          <a:xfrm>
            <a:off x="235805" y="3955258"/>
            <a:ext cx="8124560" cy="300038"/>
          </a:xfrm>
        </p:spPr>
        <p:txBody>
          <a:bodyPr/>
          <a:lstStyle>
            <a:lvl1pPr marL="0" indent="0"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614439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grpId="0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6" grpId="0" animBg="1"/>
      <p:bldP spid="45" grpId="0" animBg="1"/>
      <p:bldP spid="33" grpId="0" animBg="1"/>
      <p:bldP spid="28" grpId="0" animBg="1"/>
      <p:bldP spid="29" grpId="0" animBg="1"/>
      <p:bldP spid="30" grpId="0" animBg="1"/>
      <p:bldP spid="31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1" grpId="0" animBg="1"/>
      <p:bldP spid="42" grpId="0" animBg="1"/>
    </p:bld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84"/>
          <p:cNvSpPr/>
          <p:nvPr/>
        </p:nvSpPr>
        <p:spPr>
          <a:xfrm>
            <a:off x="0" y="1789"/>
            <a:ext cx="9129008" cy="4783736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1" y="4908953"/>
            <a:ext cx="9129008" cy="234551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55"/>
            <a:ext cx="8112126" cy="288131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15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42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6858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936176"/>
            <a:ext cx="8112125" cy="2180429"/>
          </a:xfrm>
        </p:spPr>
        <p:txBody>
          <a:bodyPr/>
          <a:lstStyle>
            <a:lvl1pPr algn="l" defTabSz="68589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grpSp>
        <p:nvGrpSpPr>
          <p:cNvPr id="2" name="Group 67"/>
          <p:cNvGrpSpPr/>
          <p:nvPr userDrawn="1"/>
        </p:nvGrpSpPr>
        <p:grpSpPr>
          <a:xfrm>
            <a:off x="341807" y="226414"/>
            <a:ext cx="630141" cy="335858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92" name="Rectangle 9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5" name="Freeform 94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</p:grpSp>
      <p:sp>
        <p:nvSpPr>
          <p:cNvPr id="56" name="Rectangle 4"/>
          <p:cNvSpPr>
            <a:spLocks noChangeArrowheads="1"/>
          </p:cNvSpPr>
          <p:nvPr userDrawn="1"/>
        </p:nvSpPr>
        <p:spPr bwMode="ltGray">
          <a:xfrm>
            <a:off x="265674" y="4931983"/>
            <a:ext cx="3420515" cy="13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601" tIns="30800" rIns="61601" bIns="30800" anchor="b" anchorCtr="0">
            <a:spAutoFit/>
          </a:bodyPr>
          <a:lstStyle/>
          <a:p>
            <a:pPr defTabSz="610872"/>
            <a:r>
              <a:rPr lang="en-US" sz="5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7" name="Rectangle 5"/>
          <p:cNvSpPr>
            <a:spLocks noChangeArrowheads="1"/>
          </p:cNvSpPr>
          <p:nvPr userDrawn="1"/>
        </p:nvSpPr>
        <p:spPr bwMode="ltGray">
          <a:xfrm>
            <a:off x="7934465" y="4930683"/>
            <a:ext cx="641186" cy="13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601" tIns="30800" rIns="61601" bIns="30800" anchor="b">
            <a:spAutoFit/>
          </a:bodyPr>
          <a:lstStyle/>
          <a:p>
            <a:pPr algn="r" defTabSz="610872"/>
            <a:r>
              <a:rPr lang="en-US" sz="5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8" name="Rectangle 7"/>
          <p:cNvSpPr>
            <a:spLocks noChangeArrowheads="1"/>
          </p:cNvSpPr>
          <p:nvPr userDrawn="1"/>
        </p:nvSpPr>
        <p:spPr bwMode="ltGray">
          <a:xfrm>
            <a:off x="8678606" y="4927605"/>
            <a:ext cx="202771" cy="139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601" tIns="30800" rIns="61601" bIns="30800" anchor="b">
            <a:spAutoFit/>
          </a:bodyPr>
          <a:lstStyle/>
          <a:p>
            <a:pPr algn="r" defTabSz="610872"/>
            <a:fld id="{DFCF27A5-1A5B-48D3-A060-2758FFBB1ADD}" type="slidenum">
              <a:rPr lang="en-US" sz="500">
                <a:solidFill>
                  <a:srgbClr val="C0C0C0"/>
                </a:solidFill>
                <a:latin typeface="Arial"/>
              </a:rPr>
              <a:pPr algn="r" defTabSz="610872"/>
              <a:t>‹#›</a:t>
            </a:fld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0" hasCustomPrompt="1"/>
          </p:nvPr>
        </p:nvSpPr>
        <p:spPr>
          <a:xfrm>
            <a:off x="235806" y="3589445"/>
            <a:ext cx="8110268" cy="296466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1" hasCustomPrompt="1"/>
          </p:nvPr>
        </p:nvSpPr>
        <p:spPr>
          <a:xfrm>
            <a:off x="235805" y="3955258"/>
            <a:ext cx="8124560" cy="300038"/>
          </a:xfrm>
        </p:spPr>
        <p:txBody>
          <a:bodyPr/>
          <a:lstStyle>
            <a:lvl1pPr marL="0" indent="0"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1500" kern="1200" dirty="0" smtClean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925173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29" name="Rounded Rectangle 28"/>
          <p:cNvSpPr/>
          <p:nvPr/>
        </p:nvSpPr>
        <p:spPr>
          <a:xfrm>
            <a:off x="1823499" y="-2677944"/>
            <a:ext cx="1729740" cy="1051063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0" y="-478290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 rot="10800000">
            <a:off x="1013792" y="3186456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Rounded Rectangle 31"/>
          <p:cNvSpPr/>
          <p:nvPr userDrawn="1"/>
        </p:nvSpPr>
        <p:spPr>
          <a:xfrm>
            <a:off x="6585484" y="-2184960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 userDrawn="1"/>
        </p:nvSpPr>
        <p:spPr>
          <a:xfrm>
            <a:off x="8105452" y="4274400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Rounded Rectangle 33"/>
          <p:cNvSpPr/>
          <p:nvPr/>
        </p:nvSpPr>
        <p:spPr>
          <a:xfrm rot="10800000">
            <a:off x="3036073" y="1137133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927520"/>
            <a:ext cx="8112125" cy="2189084"/>
          </a:xfrm>
        </p:spPr>
        <p:txBody>
          <a:bodyPr/>
          <a:lstStyle>
            <a:lvl1pPr>
              <a:lnSpc>
                <a:spcPct val="90000"/>
              </a:lnSpc>
              <a:defRPr sz="45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56"/>
            <a:ext cx="8112126" cy="288131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  <a:latin typeface="+mj-lt"/>
              </a:defRPr>
            </a:lvl1pPr>
            <a:lvl2pPr marL="342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58" name="Rectangle 5"/>
          <p:cNvSpPr>
            <a:spLocks noChangeArrowheads="1"/>
          </p:cNvSpPr>
          <p:nvPr/>
        </p:nvSpPr>
        <p:spPr bwMode="ltGray">
          <a:xfrm>
            <a:off x="7934465" y="4930683"/>
            <a:ext cx="641186" cy="13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601" tIns="30800" rIns="61601" bIns="30800" anchor="b">
            <a:spAutoFit/>
          </a:bodyPr>
          <a:lstStyle/>
          <a:p>
            <a:pPr algn="r" defTabSz="610872"/>
            <a:r>
              <a:rPr lang="en-US" sz="5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grpSp>
        <p:nvGrpSpPr>
          <p:cNvPr id="53" name="Group 5"/>
          <p:cNvGrpSpPr>
            <a:grpSpLocks/>
          </p:cNvGrpSpPr>
          <p:nvPr userDrawn="1"/>
        </p:nvGrpSpPr>
        <p:grpSpPr bwMode="auto">
          <a:xfrm>
            <a:off x="341799" y="228602"/>
            <a:ext cx="631526" cy="335757"/>
            <a:chOff x="384" y="331"/>
            <a:chExt cx="912" cy="485"/>
          </a:xfrm>
        </p:grpSpPr>
        <p:sp>
          <p:nvSpPr>
            <p:cNvPr id="54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8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9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0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1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2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3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4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sp>
        <p:nvSpPr>
          <p:cNvPr id="37" name="Rectangle 4"/>
          <p:cNvSpPr>
            <a:spLocks noChangeArrowheads="1"/>
          </p:cNvSpPr>
          <p:nvPr userDrawn="1"/>
        </p:nvSpPr>
        <p:spPr bwMode="ltGray">
          <a:xfrm>
            <a:off x="265674" y="4931983"/>
            <a:ext cx="3420515" cy="13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601" tIns="30800" rIns="61601" bIns="30800" anchor="b" anchorCtr="0">
            <a:spAutoFit/>
          </a:bodyPr>
          <a:lstStyle/>
          <a:p>
            <a:pPr defTabSz="610872"/>
            <a:r>
              <a:rPr lang="en-US" sz="500" dirty="0" smtClean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8678606" y="4927605"/>
            <a:ext cx="202771" cy="139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601" tIns="30800" rIns="61601" bIns="30800" anchor="b">
            <a:spAutoFit/>
          </a:bodyPr>
          <a:lstStyle/>
          <a:p>
            <a:pPr algn="r" defTabSz="610872"/>
            <a:fld id="{DFCF27A5-1A5B-48D3-A060-2758FFBB1ADD}" type="slidenum">
              <a:rPr lang="en-US" sz="500">
                <a:solidFill>
                  <a:srgbClr val="FFFFFF"/>
                </a:solidFill>
                <a:latin typeface="Arial"/>
              </a:rPr>
              <a:pPr algn="r" defTabSz="610872"/>
              <a:t>‹#›</a:t>
            </a:fld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35805" y="3587072"/>
            <a:ext cx="8112650" cy="288131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35805" y="3954943"/>
            <a:ext cx="8112650" cy="288131"/>
          </a:xfrm>
        </p:spPr>
        <p:txBody>
          <a:bodyPr/>
          <a:lstStyle>
            <a:lvl1pPr marL="0" indent="0"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12550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grpSp>
        <p:nvGrpSpPr>
          <p:cNvPr id="46" name="Group 45"/>
          <p:cNvGrpSpPr/>
          <p:nvPr userDrawn="1"/>
        </p:nvGrpSpPr>
        <p:grpSpPr>
          <a:xfrm>
            <a:off x="8" y="-1542022"/>
            <a:ext cx="9835191" cy="14534360"/>
            <a:chOff x="0" y="-2056029"/>
            <a:chExt cx="13110173" cy="19379146"/>
          </a:xfrm>
        </p:grpSpPr>
        <p:sp>
          <p:nvSpPr>
            <p:cNvPr id="36" name="Rounded Rectangle 35"/>
            <p:cNvSpPr/>
            <p:nvPr userDrawn="1"/>
          </p:nvSpPr>
          <p:spPr>
            <a:xfrm>
              <a:off x="2430699" y="3308943"/>
              <a:ext cx="2305719" cy="140141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91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0" name="Rounded Rectangle 39"/>
            <p:cNvSpPr/>
            <p:nvPr userDrawn="1"/>
          </p:nvSpPr>
          <p:spPr>
            <a:xfrm>
              <a:off x="0" y="1236689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91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2" name="Rounded Rectangle 41"/>
            <p:cNvSpPr/>
            <p:nvPr userDrawn="1"/>
          </p:nvSpPr>
          <p:spPr>
            <a:xfrm rot="10800000">
              <a:off x="1351370" y="4248605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91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3" name="Rounded Rectangle 42"/>
            <p:cNvSpPr/>
            <p:nvPr userDrawn="1"/>
          </p:nvSpPr>
          <p:spPr>
            <a:xfrm>
              <a:off x="8778358" y="-2056029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91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4" name="Rounded Rectangle 43"/>
            <p:cNvSpPr/>
            <p:nvPr userDrawn="1"/>
          </p:nvSpPr>
          <p:spPr>
            <a:xfrm>
              <a:off x="10804454" y="2783785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91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5" name="Rounded Rectangle 44"/>
            <p:cNvSpPr/>
            <p:nvPr userDrawn="1"/>
          </p:nvSpPr>
          <p:spPr>
            <a:xfrm rot="10800000">
              <a:off x="4047043" y="174390"/>
              <a:ext cx="2305719" cy="814843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91"/>
              <a:endParaRPr lang="en-US" sz="140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927520"/>
            <a:ext cx="8112125" cy="2189084"/>
          </a:xfrm>
        </p:spPr>
        <p:txBody>
          <a:bodyPr/>
          <a:lstStyle>
            <a:lvl1pPr>
              <a:lnSpc>
                <a:spcPct val="90000"/>
              </a:lnSpc>
              <a:defRPr sz="45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56"/>
            <a:ext cx="8112126" cy="288131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  <a:latin typeface="+mj-lt"/>
              </a:defRPr>
            </a:lvl1pPr>
            <a:lvl2pPr marL="342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58" name="Rectangle 5"/>
          <p:cNvSpPr>
            <a:spLocks noChangeArrowheads="1"/>
          </p:cNvSpPr>
          <p:nvPr/>
        </p:nvSpPr>
        <p:spPr bwMode="ltGray">
          <a:xfrm>
            <a:off x="7934465" y="4930683"/>
            <a:ext cx="641186" cy="13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601" tIns="30800" rIns="61601" bIns="30800" anchor="b">
            <a:spAutoFit/>
          </a:bodyPr>
          <a:lstStyle/>
          <a:p>
            <a:pPr algn="r" defTabSz="610872"/>
            <a:r>
              <a:rPr lang="en-US" sz="5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grpSp>
        <p:nvGrpSpPr>
          <p:cNvPr id="4" name="Group 5"/>
          <p:cNvGrpSpPr>
            <a:grpSpLocks/>
          </p:cNvGrpSpPr>
          <p:nvPr userDrawn="1"/>
        </p:nvGrpSpPr>
        <p:grpSpPr bwMode="auto">
          <a:xfrm>
            <a:off x="341799" y="228602"/>
            <a:ext cx="631526" cy="335757"/>
            <a:chOff x="384" y="331"/>
            <a:chExt cx="912" cy="485"/>
          </a:xfrm>
        </p:grpSpPr>
        <p:sp>
          <p:nvSpPr>
            <p:cNvPr id="54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8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79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0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1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2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3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84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sp>
        <p:nvSpPr>
          <p:cNvPr id="37" name="Rectangle 4"/>
          <p:cNvSpPr>
            <a:spLocks noChangeArrowheads="1"/>
          </p:cNvSpPr>
          <p:nvPr userDrawn="1"/>
        </p:nvSpPr>
        <p:spPr bwMode="ltGray">
          <a:xfrm>
            <a:off x="265674" y="4931983"/>
            <a:ext cx="3420515" cy="13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601" tIns="30800" rIns="61601" bIns="30800" anchor="b" anchorCtr="0">
            <a:spAutoFit/>
          </a:bodyPr>
          <a:lstStyle/>
          <a:p>
            <a:pPr defTabSz="610872"/>
            <a:r>
              <a:rPr lang="en-US" sz="500" dirty="0" smtClean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8678606" y="4927605"/>
            <a:ext cx="202771" cy="139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601" tIns="30800" rIns="61601" bIns="30800" anchor="b">
            <a:spAutoFit/>
          </a:bodyPr>
          <a:lstStyle/>
          <a:p>
            <a:pPr algn="r" defTabSz="610872"/>
            <a:fld id="{DFCF27A5-1A5B-48D3-A060-2758FFBB1ADD}" type="slidenum">
              <a:rPr lang="en-US" sz="500">
                <a:solidFill>
                  <a:srgbClr val="FFFFFF"/>
                </a:solidFill>
                <a:latin typeface="Arial"/>
              </a:rPr>
              <a:pPr algn="r" defTabSz="610872"/>
              <a:t>‹#›</a:t>
            </a:fld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35805" y="3587072"/>
            <a:ext cx="8112650" cy="288131"/>
          </a:xfrm>
        </p:spPr>
        <p:txBody>
          <a:bodyPr/>
          <a:lstStyle>
            <a:lvl1pPr marL="0" indent="0">
              <a:buFontTx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35805" y="3954943"/>
            <a:ext cx="8112650" cy="288131"/>
          </a:xfrm>
        </p:spPr>
        <p:txBody>
          <a:bodyPr/>
          <a:lstStyle>
            <a:lvl1pPr marL="0" indent="0"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15576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egue textur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3375" y="2330055"/>
            <a:ext cx="8477250" cy="2578894"/>
          </a:xfrm>
          <a:prstGeom prst="rect">
            <a:avLst/>
          </a:prstGeom>
        </p:spPr>
      </p:pic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 anchor="ctr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 anchor="ctr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pic>
        <p:nvPicPr>
          <p:cNvPr id="16" name="Picture 15" descr="segue texture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3375" y="4786092"/>
            <a:ext cx="8477250" cy="122856"/>
          </a:xfrm>
          <a:prstGeom prst="rect">
            <a:avLst/>
          </a:prstGeom>
        </p:spPr>
      </p:pic>
      <p:sp>
        <p:nvSpPr>
          <p:cNvPr id="31" name="Rectangle 30"/>
          <p:cNvSpPr/>
          <p:nvPr userDrawn="1"/>
        </p:nvSpPr>
        <p:spPr>
          <a:xfrm>
            <a:off x="217366" y="2267175"/>
            <a:ext cx="8694295" cy="2518348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312841"/>
            <a:ext cx="8112125" cy="1805282"/>
          </a:xfrm>
        </p:spPr>
        <p:txBody>
          <a:bodyPr/>
          <a:lstStyle>
            <a:lvl1pPr algn="l" defTabSz="68589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40380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9" dur="16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2" grpId="0"/>
    </p:bld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egue textur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3375" y="2330055"/>
            <a:ext cx="8477250" cy="2578894"/>
          </a:xfrm>
          <a:prstGeom prst="rect">
            <a:avLst/>
          </a:prstGeom>
        </p:spPr>
      </p:pic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 anchor="ctr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 anchor="ctr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217366" y="2267179"/>
            <a:ext cx="8694295" cy="1290413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401" y="1330906"/>
            <a:ext cx="8112125" cy="1805282"/>
          </a:xfrm>
        </p:spPr>
        <p:txBody>
          <a:bodyPr/>
          <a:lstStyle>
            <a:lvl1pPr algn="l" defTabSz="68589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143605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0" y="324161"/>
            <a:ext cx="8580923" cy="628650"/>
          </a:xfrm>
        </p:spPr>
        <p:txBody>
          <a:bodyPr/>
          <a:lstStyle>
            <a:lvl1pPr algn="l" defTabSz="68589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3232" y="1008126"/>
            <a:ext cx="8570912" cy="3723894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110"/>
              </a:spcBef>
              <a:buClr>
                <a:srgbClr val="96CA4B"/>
              </a:buClr>
              <a:tabLst/>
              <a:defRPr sz="17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450"/>
              </a:spcBef>
              <a:tabLst/>
              <a:defRPr>
                <a:solidFill>
                  <a:schemeClr val="bg1"/>
                </a:solidFill>
                <a:latin typeface="+mj-lt"/>
              </a:defRPr>
            </a:lvl2pPr>
            <a:lvl3pPr>
              <a:tabLst/>
              <a:defRPr>
                <a:solidFill>
                  <a:schemeClr val="bg1"/>
                </a:solidFill>
                <a:latin typeface="+mj-lt"/>
              </a:defRPr>
            </a:lvl3pPr>
            <a:lvl4pPr>
              <a:tabLst/>
              <a:defRPr>
                <a:solidFill>
                  <a:schemeClr val="bg1"/>
                </a:solidFill>
                <a:latin typeface="+mj-lt"/>
              </a:defRPr>
            </a:lvl4pPr>
            <a:lvl5pPr>
              <a:tabLst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233952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9702" y="1004810"/>
            <a:ext cx="4021116" cy="3724275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110"/>
              </a:spcBef>
              <a:defRPr sz="1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450"/>
              </a:spcBef>
              <a:defRPr sz="1100">
                <a:solidFill>
                  <a:schemeClr val="bg1"/>
                </a:solidFill>
                <a:latin typeface="+mj-lt"/>
              </a:defRPr>
            </a:lvl2pPr>
            <a:lvl3pPr>
              <a:defRPr sz="900">
                <a:solidFill>
                  <a:schemeClr val="bg1"/>
                </a:solidFill>
                <a:latin typeface="+mj-lt"/>
              </a:defRPr>
            </a:lvl3pPr>
            <a:lvl4pPr>
              <a:defRPr sz="800">
                <a:solidFill>
                  <a:schemeClr val="bg1"/>
                </a:solidFill>
                <a:latin typeface="+mj-lt"/>
              </a:defRPr>
            </a:lvl4pPr>
            <a:lvl5pPr>
              <a:defRPr sz="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88185" y="1004810"/>
            <a:ext cx="4222440" cy="3724275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110"/>
              </a:spcBef>
              <a:defRPr sz="1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450"/>
              </a:spcBef>
              <a:defRPr sz="1100">
                <a:solidFill>
                  <a:schemeClr val="bg1"/>
                </a:solidFill>
                <a:latin typeface="+mj-lt"/>
              </a:defRPr>
            </a:lvl2pPr>
            <a:lvl3pPr>
              <a:defRPr sz="900">
                <a:solidFill>
                  <a:schemeClr val="bg1"/>
                </a:solidFill>
                <a:latin typeface="+mj-lt"/>
              </a:defRPr>
            </a:lvl3pPr>
            <a:lvl4pPr>
              <a:defRPr sz="800">
                <a:solidFill>
                  <a:schemeClr val="bg1"/>
                </a:solidFill>
                <a:latin typeface="+mj-lt"/>
              </a:defRPr>
            </a:lvl4pPr>
            <a:lvl5pPr>
              <a:defRPr sz="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29710" y="324161"/>
            <a:ext cx="8580923" cy="628650"/>
          </a:xfrm>
        </p:spPr>
        <p:txBody>
          <a:bodyPr/>
          <a:lstStyle>
            <a:lvl1pPr algn="l" defTabSz="68589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270463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9" y="324161"/>
            <a:ext cx="8580923" cy="628650"/>
          </a:xfrm>
        </p:spPr>
        <p:txBody>
          <a:bodyPr/>
          <a:lstStyle>
            <a:lvl1pPr algn="l" defTabSz="68589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21" y="1004810"/>
            <a:ext cx="4011105" cy="3724275"/>
          </a:xfrm>
        </p:spPr>
        <p:txBody>
          <a:bodyPr/>
          <a:lstStyle>
            <a:lvl1pPr>
              <a:lnSpc>
                <a:spcPct val="95000"/>
              </a:lnSpc>
              <a:spcBef>
                <a:spcPts val="1110"/>
              </a:spcBef>
              <a:defRPr sz="17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45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221224" y="1310764"/>
            <a:ext cx="3236976" cy="484748"/>
          </a:xfrm>
        </p:spPr>
        <p:txBody>
          <a:bodyPr>
            <a:noAutofit/>
          </a:bodyPr>
          <a:lstStyle>
            <a:lvl1pPr marL="85736" indent="-85736" algn="l" defTabSz="68589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85736" indent="-85736" algn="l" defTabSz="685891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36" indent="-85736" algn="l" defTabSz="685891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36" indent="-85736" algn="l" defTabSz="685891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36" indent="-85736" algn="l" defTabSz="685891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“This is the sample </a:t>
            </a:r>
            <a:br>
              <a:rPr lang="en-US" dirty="0" smtClean="0"/>
            </a:br>
            <a:r>
              <a:rPr lang="en-US" dirty="0" smtClean="0"/>
              <a:t>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309483" y="3552444"/>
            <a:ext cx="3237819" cy="25374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Source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8095595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0" y="324161"/>
            <a:ext cx="8588861" cy="628650"/>
          </a:xfrm>
        </p:spPr>
        <p:txBody>
          <a:bodyPr/>
          <a:lstStyle>
            <a:lvl1pPr algn="l" defTabSz="68589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29205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>
          <a:xfrm rot="10800000" flipV="1">
            <a:off x="0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51376" y="4931497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12" name="Rectangle 5"/>
          <p:cNvSpPr>
            <a:spLocks noChangeArrowheads="1"/>
          </p:cNvSpPr>
          <p:nvPr userDrawn="1"/>
        </p:nvSpPr>
        <p:spPr bwMode="ltGray">
          <a:xfrm>
            <a:off x="7789664" y="4930196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40522" y="4927118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992624" y="644652"/>
            <a:ext cx="3630168" cy="3771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992624" y="644652"/>
            <a:ext cx="3630168" cy="37719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2673477"/>
            <a:ext cx="4349918" cy="188595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2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Round Same Side Corner Rectangle 21"/>
          <p:cNvSpPr/>
          <p:nvPr userDrawn="1"/>
        </p:nvSpPr>
        <p:spPr>
          <a:xfrm rot="10800000">
            <a:off x="413446" y="8807"/>
            <a:ext cx="825289" cy="175432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ounded Rectangle 22"/>
          <p:cNvSpPr/>
          <p:nvPr userDrawn="1"/>
        </p:nvSpPr>
        <p:spPr>
          <a:xfrm>
            <a:off x="477308" y="2677126"/>
            <a:ext cx="761426" cy="1228556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  <a:alpha val="2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Round Same Side Corner Rectangle 23"/>
          <p:cNvSpPr/>
          <p:nvPr userDrawn="1"/>
        </p:nvSpPr>
        <p:spPr>
          <a:xfrm rot="10800000">
            <a:off x="1087854" y="8808"/>
            <a:ext cx="825289" cy="95026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1646405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226314"/>
            <a:ext cx="4123944" cy="628650"/>
          </a:xfrm>
          <a:ln>
            <a:solidFill>
              <a:schemeClr val="bg1">
                <a:lumMod val="50000"/>
              </a:schemeClr>
            </a:solidFill>
          </a:ln>
        </p:spPr>
        <p:txBody>
          <a:bodyPr vert="horz" lIns="61730" tIns="34295" rIns="61730" bIns="34295" rtlCol="0" anchor="t" anchorCtr="0">
            <a:noAutofit/>
          </a:bodyPr>
          <a:lstStyle>
            <a:lvl1pPr algn="l" defTabSz="68589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19455" y="1200150"/>
            <a:ext cx="4142232" cy="339471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476314" indent="-171473">
              <a:buClr>
                <a:schemeClr val="accent5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818888" y="1200150"/>
            <a:ext cx="4005072" cy="339471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476314" indent="-171473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822438" y="233172"/>
            <a:ext cx="3896359" cy="630936"/>
          </a:xfrm>
          <a:ln>
            <a:solidFill>
              <a:schemeClr val="bg1">
                <a:lumMod val="50000"/>
              </a:schemeClr>
            </a:solidFill>
          </a:ln>
        </p:spPr>
        <p:txBody>
          <a:bodyPr>
            <a:noAutofit/>
          </a:bodyPr>
          <a:lstStyle>
            <a:lvl1pPr marL="0" marR="0" indent="0" algn="l" defTabSz="6858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Righ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265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6" y="1200155"/>
            <a:ext cx="2622550" cy="329326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80" y="1200151"/>
            <a:ext cx="2593975" cy="32718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9" y="1200151"/>
            <a:ext cx="2633662" cy="325040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19516" y="75438"/>
            <a:ext cx="2668457" cy="864108"/>
          </a:xfrm>
          <a:ln>
            <a:solidFill>
              <a:schemeClr val="bg1">
                <a:lumMod val="50000"/>
              </a:schemeClr>
            </a:solidFill>
          </a:ln>
        </p:spPr>
        <p:txBody>
          <a:bodyPr anchor="b" anchorCtr="0">
            <a:noAutofit/>
          </a:bodyPr>
          <a:lstStyle>
            <a:lvl1pPr marL="0" marR="0" indent="0" algn="l" defTabSz="6858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3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258407" y="75438"/>
            <a:ext cx="2599859" cy="864108"/>
          </a:xfrm>
          <a:ln>
            <a:solidFill>
              <a:schemeClr val="bg1">
                <a:lumMod val="50000"/>
              </a:schemeClr>
            </a:solidFill>
          </a:ln>
        </p:spPr>
        <p:txBody>
          <a:bodyPr anchor="b" anchorCtr="0">
            <a:noAutofit/>
          </a:bodyPr>
          <a:lstStyle>
            <a:lvl1pPr marL="0" marR="0" indent="0" algn="l" defTabSz="6858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3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6272202" y="75438"/>
            <a:ext cx="2634158" cy="864108"/>
          </a:xfrm>
          <a:ln>
            <a:solidFill>
              <a:schemeClr val="bg1">
                <a:lumMod val="50000"/>
              </a:schemeClr>
            </a:solidFill>
          </a:ln>
        </p:spPr>
        <p:txBody>
          <a:bodyPr anchor="b" anchorCtr="0">
            <a:noAutofit/>
          </a:bodyPr>
          <a:lstStyle>
            <a:lvl1pPr marL="0" marR="0" indent="0" algn="l" defTabSz="6858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3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963938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246972" y="329783"/>
            <a:ext cx="8567244" cy="628650"/>
          </a:xfrm>
        </p:spPr>
        <p:txBody>
          <a:bodyPr/>
          <a:lstStyle>
            <a:lvl1pPr algn="l" defTabSz="68589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72" y="1107281"/>
            <a:ext cx="8439461" cy="3228975"/>
          </a:xfrm>
        </p:spPr>
        <p:txBody>
          <a:bodyPr anchor="ctr" anchorCtr="1"/>
          <a:lstStyle>
            <a:lvl1pPr>
              <a:buNone/>
              <a:defRPr>
                <a:latin typeface="+mj-lt"/>
              </a:defRPr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7" y="4546591"/>
            <a:ext cx="7461250" cy="207749"/>
          </a:xfrm>
        </p:spPr>
        <p:txBody>
          <a:bodyPr wrap="square" anchor="b" anchorCtr="0">
            <a:noAutofit/>
          </a:bodyPr>
          <a:lstStyle>
            <a:lvl1pPr algn="l" defTabSz="603728">
              <a:lnSpc>
                <a:spcPct val="100000"/>
              </a:lnSpc>
              <a:spcBef>
                <a:spcPct val="50000"/>
              </a:spcBef>
              <a:buNone/>
              <a:defRPr sz="9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3262515295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4072683"/>
            <a:ext cx="8558698" cy="628650"/>
          </a:xfrm>
        </p:spPr>
        <p:txBody>
          <a:bodyPr vert="horz" lIns="61730" tIns="34295" rIns="61730" bIns="34295" rtlCol="0" anchor="b" anchorCtr="0">
            <a:noAutofit/>
          </a:bodyPr>
          <a:lstStyle>
            <a:lvl1pPr algn="l" defTabSz="68589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6888" y="1200150"/>
            <a:ext cx="4005072" cy="2811780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180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Simple text goes here and can wrap to accommodate more lines of information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4873752" y="1460754"/>
            <a:ext cx="3429000" cy="2242566"/>
          </a:xfrm>
        </p:spPr>
        <p:txBody>
          <a:bodyPr anchor="ctr" anchorCtr="1"/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54956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4072683"/>
            <a:ext cx="8558698" cy="628650"/>
          </a:xfrm>
        </p:spPr>
        <p:txBody>
          <a:bodyPr vert="horz" lIns="61730" tIns="34295" rIns="61730" bIns="34295" rtlCol="0" anchor="b" anchorCtr="0">
            <a:noAutofit/>
          </a:bodyPr>
          <a:lstStyle>
            <a:lvl1pPr algn="l" defTabSz="68589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344791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5175" y="4389125"/>
            <a:ext cx="8112126" cy="288131"/>
          </a:xfrm>
        </p:spPr>
        <p:txBody>
          <a:bodyPr anchor="b" anchorCtr="0">
            <a:noAutofit/>
          </a:bodyPr>
          <a:lstStyle>
            <a:lvl1pPr marL="0" indent="0" algn="l" defTabSz="6858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342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9464" y="486918"/>
            <a:ext cx="8112125" cy="3360420"/>
          </a:xfrm>
        </p:spPr>
        <p:txBody>
          <a:bodyPr/>
          <a:lstStyle>
            <a:lvl1pPr marL="175046" indent="-175046" algn="l" defTabSz="68589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67570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8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xmlns:p14="http://schemas.microsoft.com/office/powerpoint/2010/main" presetID="22" presetClass="entr" presetSubtype="4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4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1439060"/>
            <a:ext cx="4117446" cy="2265389"/>
          </a:xfrm>
        </p:spPr>
        <p:txBody>
          <a:bodyPr vert="horz" lIns="61730" tIns="34295" rIns="61730" bIns="34295" rtlCol="0" anchor="ctr" anchorCtr="0">
            <a:noAutofit/>
          </a:bodyPr>
          <a:lstStyle>
            <a:lvl1pPr marL="0" indent="0" algn="l" defTabSz="68589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233172"/>
            <a:ext cx="3895344" cy="4656582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1500" baseline="0">
                <a:solidFill>
                  <a:schemeClr val="bg1"/>
                </a:solidFill>
                <a:latin typeface="+mj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844280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92" y="3209549"/>
            <a:ext cx="4684867" cy="288131"/>
          </a:xfrm>
        </p:spPr>
        <p:txBody>
          <a:bodyPr vert="horz" lIns="68589" tIns="34295" rIns="68589" bIns="34295" rtlCol="0">
            <a:noAutofit/>
          </a:bodyPr>
          <a:lstStyle>
            <a:lvl1pPr marL="0" indent="0" algn="l" defTabSz="6858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342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6858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8698" y="2462026"/>
            <a:ext cx="4712557" cy="766763"/>
          </a:xfrm>
        </p:spPr>
        <p:txBody>
          <a:bodyPr vert="horz" lIns="61730" tIns="34295" rIns="61730" bIns="34295" rtlCol="0" anchor="b" anchorCtr="0">
            <a:noAutofit/>
          </a:bodyPr>
          <a:lstStyle>
            <a:lvl1pPr marL="0" indent="0" algn="l" defTabSz="68589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1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5540384" y="1438276"/>
            <a:ext cx="2676525" cy="2166938"/>
          </a:xfrm>
        </p:spPr>
        <p:txBody>
          <a:bodyPr anchor="ctr" anchorCtr="1"/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grpSp>
        <p:nvGrpSpPr>
          <p:cNvPr id="24" name="Group 67"/>
          <p:cNvGrpSpPr/>
          <p:nvPr userDrawn="1"/>
        </p:nvGrpSpPr>
        <p:grpSpPr>
          <a:xfrm>
            <a:off x="341799" y="226414"/>
            <a:ext cx="691030" cy="368312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25" name="Rectangle 24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91"/>
              <a:endParaRPr lang="en-US" sz="1400">
                <a:solidFill>
                  <a:srgbClr val="0096D6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9362325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9" name="Rounded Rectangle 8"/>
          <p:cNvSpPr/>
          <p:nvPr userDrawn="1"/>
        </p:nvSpPr>
        <p:spPr>
          <a:xfrm>
            <a:off x="1823499" y="-2683566"/>
            <a:ext cx="1729740" cy="1051063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ounded Rectangle 9"/>
          <p:cNvSpPr/>
          <p:nvPr userDrawn="1"/>
        </p:nvSpPr>
        <p:spPr>
          <a:xfrm>
            <a:off x="0" y="-483912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ounded Rectangle 10"/>
          <p:cNvSpPr/>
          <p:nvPr userDrawn="1"/>
        </p:nvSpPr>
        <p:spPr>
          <a:xfrm rot="10800000">
            <a:off x="1013792" y="-483912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6375620" y="1283394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8105452" y="626169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Rounded Rectangle 13"/>
          <p:cNvSpPr/>
          <p:nvPr/>
        </p:nvSpPr>
        <p:spPr>
          <a:xfrm rot="10800000">
            <a:off x="3036073" y="-2533236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" y="363475"/>
            <a:ext cx="8755128" cy="3279098"/>
          </a:xfrm>
        </p:spPr>
        <p:txBody>
          <a:bodyPr anchor="b" anchorCtr="0"/>
          <a:lstStyle>
            <a:lvl1pPr marL="171473" indent="-171473">
              <a:buFont typeface="Arial" pitchFamily="34" charset="0"/>
              <a:buChar char="“"/>
              <a:defRPr sz="45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”</a:t>
            </a:r>
            <a:endParaRPr lang="en-US" dirty="0"/>
          </a:p>
        </p:txBody>
      </p:sp>
      <p:sp>
        <p:nvSpPr>
          <p:cNvPr id="28" name="Rectangle 5"/>
          <p:cNvSpPr>
            <a:spLocks noChangeArrowheads="1"/>
          </p:cNvSpPr>
          <p:nvPr/>
        </p:nvSpPr>
        <p:spPr bwMode="ltGray">
          <a:xfrm>
            <a:off x="7762667" y="4930683"/>
            <a:ext cx="812991" cy="13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601" tIns="30800" rIns="61601" bIns="30800" anchor="b">
            <a:spAutoFit/>
          </a:bodyPr>
          <a:lstStyle/>
          <a:p>
            <a:pPr algn="r" defTabSz="610872"/>
            <a:r>
              <a:rPr lang="en-US" sz="5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7762667" y="4930683"/>
            <a:ext cx="812991" cy="13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601" tIns="30800" rIns="61601" bIns="30800" anchor="b">
            <a:spAutoFit/>
          </a:bodyPr>
          <a:lstStyle/>
          <a:p>
            <a:pPr algn="r" defTabSz="610872"/>
            <a:r>
              <a:rPr lang="en-US" sz="500" dirty="0">
                <a:solidFill>
                  <a:srgbClr val="FFFFFF"/>
                </a:solidFill>
                <a:latin typeface="Arial"/>
              </a:rPr>
              <a:t>Cisco Confidentia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01194" y="4019179"/>
            <a:ext cx="8574685" cy="460772"/>
          </a:xfrm>
        </p:spPr>
        <p:txBody>
          <a:bodyPr vert="horz" lIns="68589" tIns="34295" rIns="68589" bIns="34295" rtlCol="0">
            <a:noAutofit/>
          </a:bodyPr>
          <a:lstStyle>
            <a:lvl1pPr marL="0" indent="0">
              <a:buNone/>
              <a:defRPr lang="en-US" sz="1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6858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ource</a:t>
            </a:r>
            <a:endParaRPr lang="en-US" dirty="0"/>
          </a:p>
        </p:txBody>
      </p:sp>
      <p:sp>
        <p:nvSpPr>
          <p:cNvPr id="18" name="Rectangle 4"/>
          <p:cNvSpPr>
            <a:spLocks noChangeArrowheads="1"/>
          </p:cNvSpPr>
          <p:nvPr userDrawn="1"/>
        </p:nvSpPr>
        <p:spPr bwMode="ltGray">
          <a:xfrm>
            <a:off x="265674" y="4931983"/>
            <a:ext cx="3420515" cy="13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601" tIns="30800" rIns="61601" bIns="30800" anchor="b" anchorCtr="0">
            <a:spAutoFit/>
          </a:bodyPr>
          <a:lstStyle/>
          <a:p>
            <a:pPr defTabSz="610872"/>
            <a:r>
              <a:rPr lang="en-US" sz="500" dirty="0" smtClean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7"/>
          <p:cNvSpPr>
            <a:spLocks noChangeArrowheads="1"/>
          </p:cNvSpPr>
          <p:nvPr userDrawn="1"/>
        </p:nvSpPr>
        <p:spPr bwMode="ltGray">
          <a:xfrm>
            <a:off x="8678606" y="4927605"/>
            <a:ext cx="202771" cy="139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601" tIns="30800" rIns="61601" bIns="30800" anchor="b">
            <a:spAutoFit/>
          </a:bodyPr>
          <a:lstStyle/>
          <a:p>
            <a:pPr algn="r" defTabSz="610872"/>
            <a:fld id="{DFCF27A5-1A5B-48D3-A060-2758FFBB1ADD}" type="slidenum">
              <a:rPr lang="en-US" sz="500">
                <a:solidFill>
                  <a:srgbClr val="FFFFFF"/>
                </a:solidFill>
                <a:latin typeface="Arial"/>
              </a:rPr>
              <a:pPr algn="r" defTabSz="610872"/>
              <a:t>‹#›</a:t>
            </a:fld>
            <a:endParaRPr lang="en-US" sz="5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692230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2" grpId="0"/>
      <p:bldP spid="7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29" name="Rectangle 28"/>
          <p:cNvSpPr/>
          <p:nvPr/>
        </p:nvSpPr>
        <p:spPr>
          <a:xfrm>
            <a:off x="1891875" y="596646"/>
            <a:ext cx="5349240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891875" y="3595766"/>
            <a:ext cx="5347552" cy="7472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900238" y="596646"/>
            <a:ext cx="5329238" cy="300380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421127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 Same Side Corner Rectangle 16"/>
          <p:cNvSpPr/>
          <p:nvPr userDrawn="1"/>
        </p:nvSpPr>
        <p:spPr>
          <a:xfrm rot="10800000" flipV="1">
            <a:off x="1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668713" y="233363"/>
            <a:ext cx="3268136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668992" y="233363"/>
            <a:ext cx="3267861" cy="1995489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334963" y="233363"/>
            <a:ext cx="3258612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20827" y="233363"/>
            <a:ext cx="3272751" cy="1995489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7011988" y="233363"/>
            <a:ext cx="1806574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7011991" y="233363"/>
            <a:ext cx="1806573" cy="98107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2" name="Rectangle 51"/>
          <p:cNvSpPr/>
          <p:nvPr/>
        </p:nvSpPr>
        <p:spPr>
          <a:xfrm>
            <a:off x="334966" y="2271714"/>
            <a:ext cx="2501965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320824" y="2271714"/>
            <a:ext cx="2516104" cy="25942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4" name="Rectangle 53"/>
          <p:cNvSpPr/>
          <p:nvPr/>
        </p:nvSpPr>
        <p:spPr>
          <a:xfrm>
            <a:off x="2911476" y="2271714"/>
            <a:ext cx="4025374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2908334" y="2271714"/>
            <a:ext cx="4028516" cy="25942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7011988" y="1262744"/>
            <a:ext cx="1806574" cy="258161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7011991" y="1257301"/>
            <a:ext cx="1806573" cy="2587058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7011988" y="3887220"/>
            <a:ext cx="1806574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7011991" y="3887220"/>
            <a:ext cx="1806573" cy="97869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18" name="Rectangle 4"/>
          <p:cNvSpPr>
            <a:spLocks noChangeArrowheads="1"/>
          </p:cNvSpPr>
          <p:nvPr userDrawn="1"/>
        </p:nvSpPr>
        <p:spPr bwMode="ltGray">
          <a:xfrm>
            <a:off x="251376" y="4931497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7789664" y="4930196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21" name="Rectangle 7"/>
          <p:cNvSpPr>
            <a:spLocks noChangeArrowheads="1"/>
          </p:cNvSpPr>
          <p:nvPr userDrawn="1"/>
        </p:nvSpPr>
        <p:spPr bwMode="ltGray">
          <a:xfrm>
            <a:off x="8640522" y="4927118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666402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32" name="Rectangle 31"/>
          <p:cNvSpPr/>
          <p:nvPr/>
        </p:nvSpPr>
        <p:spPr>
          <a:xfrm>
            <a:off x="338329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38329" y="233172"/>
            <a:ext cx="3273552" cy="184480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89" tIns="34295" rIns="68589" bIns="34295" rtlCol="0" anchor="ctr" anchorCtr="0">
            <a:normAutofit/>
          </a:bodyPr>
          <a:lstStyle>
            <a:lvl1pPr marL="0" indent="0" algn="ctr" defTabSz="6858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29703" y="2571750"/>
            <a:ext cx="7009298" cy="1066446"/>
          </a:xfrm>
        </p:spPr>
        <p:txBody>
          <a:bodyPr anchor="t">
            <a:noAutofit/>
          </a:bodyPr>
          <a:lstStyle>
            <a:lvl1pPr marL="0" marR="0" indent="0" algn="l" defTabSz="6858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Large photo </a:t>
            </a:r>
            <a:br>
              <a:rPr lang="en-US" dirty="0" smtClean="0"/>
            </a:br>
            <a:r>
              <a:rPr lang="en-US" dirty="0" smtClean="0"/>
              <a:t>caption here.</a:t>
            </a:r>
          </a:p>
        </p:txBody>
      </p:sp>
    </p:spTree>
    <p:extLst>
      <p:ext uri="{BB962C8B-B14F-4D97-AF65-F5344CB8AC3E}">
        <p14:creationId xmlns:p14="http://schemas.microsoft.com/office/powerpoint/2010/main" val="19733937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40" name="Rectangle 39"/>
          <p:cNvSpPr/>
          <p:nvPr/>
        </p:nvSpPr>
        <p:spPr>
          <a:xfrm>
            <a:off x="4992624" y="644652"/>
            <a:ext cx="3630168" cy="3771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992624" y="644652"/>
            <a:ext cx="3630168" cy="37719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546730"/>
            <a:ext cx="4349918" cy="93917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95196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48" name="Rectangle 47"/>
          <p:cNvSpPr/>
          <p:nvPr/>
        </p:nvSpPr>
        <p:spPr>
          <a:xfrm>
            <a:off x="3668713" y="233363"/>
            <a:ext cx="3268136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668998" y="233363"/>
            <a:ext cx="3267861" cy="1995489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89" tIns="34295" rIns="68589" bIns="34295" rtlCol="0" anchor="ctr" anchorCtr="0">
            <a:normAutofit/>
          </a:bodyPr>
          <a:lstStyle>
            <a:lvl1pPr marL="0" indent="0" algn="ctr" defTabSz="6858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334963" y="233363"/>
            <a:ext cx="3287736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20831" y="233363"/>
            <a:ext cx="3302001" cy="1995489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89" tIns="34295" rIns="68589" bIns="34295" rtlCol="0" anchor="ctr" anchorCtr="0">
            <a:normAutofit/>
          </a:bodyPr>
          <a:lstStyle>
            <a:lvl1pPr marL="0" indent="0" algn="ctr" defTabSz="6858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979833" y="233363"/>
            <a:ext cx="1838730" cy="98107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89" tIns="34295" rIns="68589" bIns="34295" rtlCol="0" anchor="ctr" anchorCtr="0">
            <a:normAutofit/>
          </a:bodyPr>
          <a:lstStyle>
            <a:lvl1pPr marL="0" indent="0" algn="ctr" defTabSz="6858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2" name="Rectangle 51"/>
          <p:cNvSpPr/>
          <p:nvPr/>
        </p:nvSpPr>
        <p:spPr>
          <a:xfrm>
            <a:off x="334972" y="2271717"/>
            <a:ext cx="2523161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320824" y="2271717"/>
            <a:ext cx="2537420" cy="25942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89" tIns="34295" rIns="68589" bIns="34295" rtlCol="0" anchor="ctr" anchorCtr="0">
            <a:normAutofit/>
          </a:bodyPr>
          <a:lstStyle>
            <a:lvl1pPr marL="0" indent="0" algn="ctr" defTabSz="6858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4" name="Rectangle 53"/>
          <p:cNvSpPr/>
          <p:nvPr/>
        </p:nvSpPr>
        <p:spPr>
          <a:xfrm>
            <a:off x="2911476" y="2271717"/>
            <a:ext cx="4025374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2908334" y="2271717"/>
            <a:ext cx="4028516" cy="25942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89" tIns="34295" rIns="68589" bIns="34295" rtlCol="0" anchor="ctr" anchorCtr="0">
            <a:normAutofit/>
          </a:bodyPr>
          <a:lstStyle>
            <a:lvl1pPr marL="0" indent="0" algn="ctr" defTabSz="6858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6979833" y="1262748"/>
            <a:ext cx="1838730" cy="258161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6979833" y="1257301"/>
            <a:ext cx="1838730" cy="2587058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89" tIns="34295" rIns="68589" bIns="34295" rtlCol="0" anchor="ctr" anchorCtr="0">
            <a:normAutofit/>
          </a:bodyPr>
          <a:lstStyle>
            <a:lvl1pPr marL="0" indent="0" algn="ctr" defTabSz="6858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6979833" y="3887223"/>
            <a:ext cx="1838730" cy="97869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68589" tIns="34295" rIns="68589" bIns="34295" rtlCol="0" anchor="ctr" anchorCtr="0">
            <a:normAutofit/>
          </a:bodyPr>
          <a:lstStyle>
            <a:lvl1pPr marL="0" indent="0" algn="ctr" defTabSz="6858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96896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38328" y="233176"/>
            <a:ext cx="8476488" cy="455654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333384" y="233177"/>
            <a:ext cx="8474869" cy="4540639"/>
          </a:xfrm>
          <a:ln>
            <a:solidFill>
              <a:srgbClr val="08252E"/>
            </a:solidFill>
          </a:ln>
        </p:spPr>
        <p:txBody>
          <a:bodyPr vert="horz" lIns="68589" tIns="34295" rIns="68589" bIns="34295" rtlCol="0" anchor="ctr" anchorCtr="0">
            <a:normAutofit/>
          </a:bodyPr>
          <a:lstStyle>
            <a:lvl1pPr marL="0" indent="0" algn="ctr" defTabSz="6858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Photo placeholder</a:t>
            </a:r>
            <a:endParaRPr lang="en-US" dirty="0"/>
          </a:p>
        </p:txBody>
      </p:sp>
      <p:pic>
        <p:nvPicPr>
          <p:cNvPr id="9" name="Picture 8" descr="segue textur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3375" y="4786092"/>
            <a:ext cx="8477250" cy="12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4267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Full bleed image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02132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pic>
        <p:nvPicPr>
          <p:cNvPr id="55" name="Picture 54" descr="texture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700" y="1343"/>
            <a:ext cx="9156700" cy="5142161"/>
          </a:xfrm>
          <a:prstGeom prst="rect">
            <a:avLst/>
          </a:prstGeom>
        </p:spPr>
      </p:pic>
      <p:sp>
        <p:nvSpPr>
          <p:cNvPr id="21" name="Media Placeholder 20"/>
          <p:cNvSpPr>
            <a:spLocks noGrp="1"/>
          </p:cNvSpPr>
          <p:nvPr>
            <p:ph type="media" sz="quarter" idx="10" hasCustomPrompt="1"/>
          </p:nvPr>
        </p:nvSpPr>
        <p:spPr>
          <a:xfrm>
            <a:off x="4391620" y="584002"/>
            <a:ext cx="4424562" cy="3319272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89" tIns="34295" rIns="68589" bIns="34295" rtlCol="0" anchor="ctr">
            <a:normAutofit/>
          </a:bodyPr>
          <a:lstStyle>
            <a:lvl1pPr marL="0" indent="0" algn="ctr" defTabSz="6858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video</a:t>
            </a:r>
            <a:endParaRPr lang="en-US" dirty="0"/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341799" y="4572002"/>
            <a:ext cx="631526" cy="335757"/>
            <a:chOff x="384" y="331"/>
            <a:chExt cx="912" cy="485"/>
          </a:xfrm>
        </p:grpSpPr>
        <p:sp>
          <p:nvSpPr>
            <p:cNvPr id="23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5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6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7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8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9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0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1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2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3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4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5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6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37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8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027620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4522853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34" name="Rectangle 33"/>
          <p:cNvSpPr>
            <a:spLocks noChangeArrowheads="1"/>
          </p:cNvSpPr>
          <p:nvPr userDrawn="1"/>
        </p:nvSpPr>
        <p:spPr bwMode="black">
          <a:xfrm>
            <a:off x="4414521" y="4383413"/>
            <a:ext cx="31090" cy="1177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5" name="Freeform 34"/>
          <p:cNvSpPr>
            <a:spLocks/>
          </p:cNvSpPr>
          <p:nvPr userDrawn="1"/>
        </p:nvSpPr>
        <p:spPr bwMode="black">
          <a:xfrm>
            <a:off x="4595647" y="4380152"/>
            <a:ext cx="90017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6" name="Freeform 35"/>
          <p:cNvSpPr>
            <a:spLocks/>
          </p:cNvSpPr>
          <p:nvPr userDrawn="1"/>
        </p:nvSpPr>
        <p:spPr bwMode="black">
          <a:xfrm>
            <a:off x="4284384" y="4380152"/>
            <a:ext cx="90017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 noEditPoints="1"/>
          </p:cNvSpPr>
          <p:nvPr userDrawn="1"/>
        </p:nvSpPr>
        <p:spPr bwMode="black">
          <a:xfrm>
            <a:off x="4718200" y="4380152"/>
            <a:ext cx="123637" cy="124284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/>
          </p:cNvSpPr>
          <p:nvPr userDrawn="1"/>
        </p:nvSpPr>
        <p:spPr bwMode="black">
          <a:xfrm>
            <a:off x="4485747" y="4380152"/>
            <a:ext cx="80617" cy="124284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/>
          </p:cNvSpPr>
          <p:nvPr userDrawn="1"/>
        </p:nvSpPr>
        <p:spPr bwMode="black">
          <a:xfrm>
            <a:off x="4222558" y="4240648"/>
            <a:ext cx="29282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 userDrawn="1"/>
        </p:nvSpPr>
        <p:spPr bwMode="black">
          <a:xfrm>
            <a:off x="4304621" y="4200066"/>
            <a:ext cx="29282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4385239" y="4144270"/>
            <a:ext cx="29282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4467302" y="4200066"/>
            <a:ext cx="29282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4547558" y="4240648"/>
            <a:ext cx="31090" cy="6051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4629622" y="4200066"/>
            <a:ext cx="29644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4711686" y="4144270"/>
            <a:ext cx="29644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4792302" y="4200066"/>
            <a:ext cx="29644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4874366" y="4240648"/>
            <a:ext cx="29644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1295555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</p:bld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34" name="TextBox 33"/>
          <p:cNvSpPr txBox="1"/>
          <p:nvPr userDrawn="1"/>
        </p:nvSpPr>
        <p:spPr>
          <a:xfrm>
            <a:off x="644692" y="2295367"/>
            <a:ext cx="1851502" cy="484758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pPr defTabSz="685891"/>
            <a:r>
              <a:rPr lang="en-US" sz="2700" dirty="0" smtClean="0">
                <a:solidFill>
                  <a:srgbClr val="FFFFFF"/>
                </a:solidFill>
                <a:latin typeface="Arial"/>
              </a:rPr>
              <a:t>Thank you.</a:t>
            </a:r>
            <a:endParaRPr lang="en-US" sz="27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" name="Rectangle 19"/>
          <p:cNvSpPr>
            <a:spLocks noChangeArrowheads="1"/>
          </p:cNvSpPr>
          <p:nvPr userDrawn="1"/>
        </p:nvSpPr>
        <p:spPr bwMode="black">
          <a:xfrm>
            <a:off x="6308661" y="2781454"/>
            <a:ext cx="87485" cy="33137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black">
          <a:xfrm>
            <a:off x="6818317" y="2773205"/>
            <a:ext cx="253297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5942452" y="2773205"/>
            <a:ext cx="253297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3" name="Freeform 22"/>
          <p:cNvSpPr>
            <a:spLocks noEditPoints="1"/>
          </p:cNvSpPr>
          <p:nvPr userDrawn="1"/>
        </p:nvSpPr>
        <p:spPr bwMode="black">
          <a:xfrm>
            <a:off x="7163167" y="2773205"/>
            <a:ext cx="347903" cy="349723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4" name="Freeform 23"/>
          <p:cNvSpPr>
            <a:spLocks/>
          </p:cNvSpPr>
          <p:nvPr userDrawn="1"/>
        </p:nvSpPr>
        <p:spPr bwMode="black">
          <a:xfrm>
            <a:off x="6509065" y="2773205"/>
            <a:ext cx="226849" cy="349723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5" name="Freeform 24"/>
          <p:cNvSpPr>
            <a:spLocks/>
          </p:cNvSpPr>
          <p:nvPr userDrawn="1"/>
        </p:nvSpPr>
        <p:spPr bwMode="black">
          <a:xfrm>
            <a:off x="5768495" y="2311830"/>
            <a:ext cx="82398" cy="170274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6" name="Freeform 25"/>
          <p:cNvSpPr>
            <a:spLocks/>
          </p:cNvSpPr>
          <p:nvPr userDrawn="1"/>
        </p:nvSpPr>
        <p:spPr bwMode="black">
          <a:xfrm>
            <a:off x="5999412" y="2197636"/>
            <a:ext cx="82398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7" name="Freeform 26"/>
          <p:cNvSpPr>
            <a:spLocks/>
          </p:cNvSpPr>
          <p:nvPr userDrawn="1"/>
        </p:nvSpPr>
        <p:spPr bwMode="black">
          <a:xfrm>
            <a:off x="6226264" y="2040621"/>
            <a:ext cx="82398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8" name="Freeform 27"/>
          <p:cNvSpPr>
            <a:spLocks/>
          </p:cNvSpPr>
          <p:nvPr userDrawn="1"/>
        </p:nvSpPr>
        <p:spPr bwMode="black">
          <a:xfrm>
            <a:off x="6457181" y="2197637"/>
            <a:ext cx="82398" cy="28446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black">
          <a:xfrm>
            <a:off x="6683021" y="2311835"/>
            <a:ext cx="87485" cy="17027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0" name="Freeform 29"/>
          <p:cNvSpPr>
            <a:spLocks/>
          </p:cNvSpPr>
          <p:nvPr userDrawn="1"/>
        </p:nvSpPr>
        <p:spPr bwMode="black">
          <a:xfrm>
            <a:off x="6913940" y="2197636"/>
            <a:ext cx="83415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1" name="Freeform 30"/>
          <p:cNvSpPr>
            <a:spLocks/>
          </p:cNvSpPr>
          <p:nvPr userDrawn="1"/>
        </p:nvSpPr>
        <p:spPr bwMode="black">
          <a:xfrm>
            <a:off x="7144859" y="2040621"/>
            <a:ext cx="83415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2" name="Freeform 31"/>
          <p:cNvSpPr>
            <a:spLocks/>
          </p:cNvSpPr>
          <p:nvPr userDrawn="1"/>
        </p:nvSpPr>
        <p:spPr bwMode="black">
          <a:xfrm>
            <a:off x="7371706" y="2197636"/>
            <a:ext cx="83415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3" name="Freeform 32"/>
          <p:cNvSpPr>
            <a:spLocks/>
          </p:cNvSpPr>
          <p:nvPr userDrawn="1"/>
        </p:nvSpPr>
        <p:spPr bwMode="black">
          <a:xfrm>
            <a:off x="7602619" y="2311835"/>
            <a:ext cx="83415" cy="17027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3771870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22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</p:bld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Complex_Gradient7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" name="Rectangle 35"/>
          <p:cNvSpPr>
            <a:spLocks noChangeArrowheads="1"/>
          </p:cNvSpPr>
          <p:nvPr userDrawn="1"/>
        </p:nvSpPr>
        <p:spPr bwMode="black">
          <a:xfrm>
            <a:off x="4414521" y="4383413"/>
            <a:ext cx="31090" cy="1177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/>
          </p:cNvSpPr>
          <p:nvPr userDrawn="1"/>
        </p:nvSpPr>
        <p:spPr bwMode="black">
          <a:xfrm>
            <a:off x="4595647" y="4380152"/>
            <a:ext cx="90017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/>
          </p:cNvSpPr>
          <p:nvPr userDrawn="1"/>
        </p:nvSpPr>
        <p:spPr bwMode="black">
          <a:xfrm>
            <a:off x="4284384" y="4380152"/>
            <a:ext cx="90017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 noEditPoints="1"/>
          </p:cNvSpPr>
          <p:nvPr userDrawn="1"/>
        </p:nvSpPr>
        <p:spPr bwMode="black">
          <a:xfrm>
            <a:off x="4718200" y="4380152"/>
            <a:ext cx="123637" cy="124284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 userDrawn="1"/>
        </p:nvSpPr>
        <p:spPr bwMode="black">
          <a:xfrm>
            <a:off x="4485747" y="4380152"/>
            <a:ext cx="80617" cy="124284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4222558" y="4240648"/>
            <a:ext cx="29282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4304621" y="4200066"/>
            <a:ext cx="29282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4385239" y="4144270"/>
            <a:ext cx="29282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4467302" y="4200066"/>
            <a:ext cx="29282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4547558" y="4240648"/>
            <a:ext cx="31090" cy="6051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4629622" y="4200066"/>
            <a:ext cx="29644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4711686" y="4144270"/>
            <a:ext cx="29644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4792302" y="4200066"/>
            <a:ext cx="29644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4874366" y="4240648"/>
            <a:ext cx="29644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635757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Placeholder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30" name="Group 29"/>
          <p:cNvGrpSpPr/>
          <p:nvPr userDrawn="1"/>
        </p:nvGrpSpPr>
        <p:grpSpPr>
          <a:xfrm>
            <a:off x="377728" y="1222035"/>
            <a:ext cx="1715337" cy="3849499"/>
            <a:chOff x="547855" y="1510844"/>
            <a:chExt cx="2250002" cy="5309775"/>
          </a:xfrm>
        </p:grpSpPr>
        <p:sp>
          <p:nvSpPr>
            <p:cNvPr id="31" name="Rounded Rectangle 30"/>
            <p:cNvSpPr/>
            <p:nvPr/>
          </p:nvSpPr>
          <p:spPr>
            <a:xfrm flipH="1">
              <a:off x="547855" y="1510844"/>
              <a:ext cx="726002" cy="3399841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00B2F0">
                    <a:alpha val="48000"/>
                  </a:srgbClr>
                </a:gs>
                <a:gs pos="100000">
                  <a:srgbClr val="96CA4B">
                    <a:alpha val="26000"/>
                  </a:srgb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 defTabSz="914400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2" name="Rounded Rectangle 31"/>
            <p:cNvSpPr/>
            <p:nvPr/>
          </p:nvSpPr>
          <p:spPr>
            <a:xfrm flipH="1">
              <a:off x="928855" y="3628485"/>
              <a:ext cx="726002" cy="1893196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60000"/>
                <a:lumOff val="40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3" name="Rounded Rectangle 32"/>
            <p:cNvSpPr/>
            <p:nvPr/>
          </p:nvSpPr>
          <p:spPr>
            <a:xfrm flipH="1">
              <a:off x="2071855" y="5460823"/>
              <a:ext cx="726002" cy="1359796"/>
            </a:xfrm>
            <a:prstGeom prst="roundRect">
              <a:avLst>
                <a:gd name="adj" fmla="val 50000"/>
              </a:avLst>
            </a:prstGeom>
            <a:solidFill>
              <a:srgbClr val="B7D333">
                <a:alpha val="2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34" name="Group 67"/>
          <p:cNvGrpSpPr/>
          <p:nvPr userDrawn="1"/>
        </p:nvGrpSpPr>
        <p:grpSpPr>
          <a:xfrm>
            <a:off x="8070147" y="4470778"/>
            <a:ext cx="726727" cy="384199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35" name="Rectangle 3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</p:grpSp>
      <p:sp>
        <p:nvSpPr>
          <p:cNvPr id="50" name="Round Same Side Corner Rectangle 49"/>
          <p:cNvSpPr/>
          <p:nvPr userDrawn="1"/>
        </p:nvSpPr>
        <p:spPr>
          <a:xfrm rot="10800000">
            <a:off x="5909733" y="-5"/>
            <a:ext cx="3234261" cy="4213935"/>
          </a:xfrm>
          <a:prstGeom prst="round2SameRect">
            <a:avLst>
              <a:gd name="adj1" fmla="val 49818"/>
              <a:gd name="adj2" fmla="val 0"/>
            </a:avLst>
          </a:prstGeom>
          <a:gradFill flip="none" rotWithShape="1">
            <a:gsLst>
              <a:gs pos="0">
                <a:srgbClr val="00B2F0">
                  <a:alpha val="52000"/>
                </a:srgbClr>
              </a:gs>
              <a:gs pos="100000">
                <a:srgbClr val="96CA4B">
                  <a:alpha val="52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12700">
            <a:gradFill>
              <a:gsLst>
                <a:gs pos="0">
                  <a:schemeClr val="tx1"/>
                </a:gs>
                <a:gs pos="50000">
                  <a:srgbClr val="3EB549"/>
                </a:gs>
                <a:gs pos="100000">
                  <a:schemeClr val="accent4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1" name="Round Same Side Corner Rectangle 50"/>
          <p:cNvSpPr/>
          <p:nvPr userDrawn="1"/>
        </p:nvSpPr>
        <p:spPr>
          <a:xfrm rot="10800000">
            <a:off x="5715000" y="-1"/>
            <a:ext cx="2878666" cy="2900982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/>
          <a:p>
            <a:pPr lvl="1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96026" y="3051412"/>
            <a:ext cx="2436648" cy="263731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54" name="Text Placeholder 43"/>
          <p:cNvSpPr>
            <a:spLocks noGrp="1"/>
          </p:cNvSpPr>
          <p:nvPr>
            <p:ph type="body" sz="quarter" idx="11" hasCustomPrompt="1"/>
          </p:nvPr>
        </p:nvSpPr>
        <p:spPr>
          <a:xfrm>
            <a:off x="6380417" y="3396876"/>
            <a:ext cx="2452258" cy="261167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5892805" y="-463569"/>
            <a:ext cx="2497666" cy="2309302"/>
          </a:xfrm>
        </p:spPr>
        <p:txBody>
          <a:bodyPr/>
          <a:lstStyle>
            <a:lvl1pPr>
              <a:lnSpc>
                <a:spcPct val="90000"/>
              </a:lnSpc>
              <a:defRPr lang="en-US" sz="3600" b="0" kern="1200" spc="-20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 (Static)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299572" y="96342"/>
            <a:ext cx="2232247" cy="1077218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914400"/>
            <a:r>
              <a:rPr lang="en-US" sz="3200" dirty="0">
                <a:solidFill>
                  <a:srgbClr val="7F7F7F"/>
                </a:solidFill>
                <a:latin typeface="Arial Narrow" pitchFamily="34" charset="0"/>
              </a:rPr>
              <a:t>Talent Management</a:t>
            </a:r>
            <a:endParaRPr lang="en-GB" sz="3200" dirty="0">
              <a:solidFill>
                <a:srgbClr val="7F7F7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426817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 animBg="1"/>
      <p:bldP spid="53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Full bleed image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80827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Complex_Gradient7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4" name="TextBox 33"/>
          <p:cNvSpPr txBox="1"/>
          <p:nvPr userDrawn="1"/>
        </p:nvSpPr>
        <p:spPr>
          <a:xfrm>
            <a:off x="644692" y="2295367"/>
            <a:ext cx="1851502" cy="484758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pPr defTabSz="685891"/>
            <a:r>
              <a:rPr lang="en-US" sz="2700" dirty="0" smtClean="0">
                <a:solidFill>
                  <a:srgbClr val="FFFFFF"/>
                </a:solidFill>
                <a:latin typeface="Arial"/>
              </a:rPr>
              <a:t>Thank you.</a:t>
            </a:r>
            <a:endParaRPr lang="en-US" sz="27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ectangle 34"/>
          <p:cNvSpPr>
            <a:spLocks noChangeArrowheads="1"/>
          </p:cNvSpPr>
          <p:nvPr userDrawn="1"/>
        </p:nvSpPr>
        <p:spPr bwMode="black">
          <a:xfrm>
            <a:off x="6308661" y="2781454"/>
            <a:ext cx="87485" cy="33137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6" name="Freeform 35"/>
          <p:cNvSpPr>
            <a:spLocks/>
          </p:cNvSpPr>
          <p:nvPr userDrawn="1"/>
        </p:nvSpPr>
        <p:spPr bwMode="black">
          <a:xfrm>
            <a:off x="6818317" y="2773205"/>
            <a:ext cx="253297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/>
          </p:cNvSpPr>
          <p:nvPr userDrawn="1"/>
        </p:nvSpPr>
        <p:spPr bwMode="black">
          <a:xfrm>
            <a:off x="5942452" y="2773205"/>
            <a:ext cx="253297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 noEditPoints="1"/>
          </p:cNvSpPr>
          <p:nvPr userDrawn="1"/>
        </p:nvSpPr>
        <p:spPr bwMode="black">
          <a:xfrm>
            <a:off x="7163167" y="2773205"/>
            <a:ext cx="347903" cy="349723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/>
          </p:cNvSpPr>
          <p:nvPr userDrawn="1"/>
        </p:nvSpPr>
        <p:spPr bwMode="black">
          <a:xfrm>
            <a:off x="6509065" y="2773205"/>
            <a:ext cx="226849" cy="349723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 userDrawn="1"/>
        </p:nvSpPr>
        <p:spPr bwMode="black">
          <a:xfrm>
            <a:off x="5768495" y="2311830"/>
            <a:ext cx="82398" cy="170274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5999412" y="2197636"/>
            <a:ext cx="82398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6226264" y="2040621"/>
            <a:ext cx="82398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6457181" y="2197637"/>
            <a:ext cx="82398" cy="28446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6683021" y="2311835"/>
            <a:ext cx="87485" cy="17027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6913940" y="2197636"/>
            <a:ext cx="83415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7144859" y="2040621"/>
            <a:ext cx="83415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7371706" y="2197636"/>
            <a:ext cx="83415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7602619" y="2311835"/>
            <a:ext cx="83415" cy="17027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68589" tIns="34295" rIns="68589" bIns="34295"/>
          <a:lstStyle/>
          <a:p>
            <a:pPr defTabSz="685891"/>
            <a:endParaRPr lang="en-US" sz="140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668303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37" grpId="0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50" grpId="0" animBg="1"/>
      <p:bldP spid="50" grpId="1" animBg="1"/>
    </p:bld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-animate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ottom bar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375" y="4781146"/>
            <a:ext cx="8477250" cy="128588"/>
          </a:xfrm>
          <a:prstGeom prst="rect">
            <a:avLst/>
          </a:prstGeom>
        </p:spPr>
      </p:pic>
      <p:pic>
        <p:nvPicPr>
          <p:cNvPr id="43" name="Picture 42" descr="bottom bar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375" y="4781146"/>
            <a:ext cx="8477250" cy="128588"/>
          </a:xfrm>
          <a:prstGeom prst="rect">
            <a:avLst/>
          </a:prstGeom>
        </p:spPr>
      </p:pic>
      <p:sp>
        <p:nvSpPr>
          <p:cNvPr id="47" name="Rectangle 46"/>
          <p:cNvSpPr/>
          <p:nvPr/>
        </p:nvSpPr>
        <p:spPr>
          <a:xfrm>
            <a:off x="3405361" y="4461478"/>
            <a:ext cx="599089" cy="8592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460948" y="4461478"/>
            <a:ext cx="472965" cy="859220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771706" y="4461478"/>
            <a:ext cx="472965" cy="859220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/>
        </p:nvSpPr>
        <p:spPr>
          <a:xfrm rot="10800000" flipH="1">
            <a:off x="2856506" y="623458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8" name="Rounded Rectangle 27"/>
          <p:cNvSpPr/>
          <p:nvPr userDrawn="1"/>
        </p:nvSpPr>
        <p:spPr>
          <a:xfrm rot="10800000" flipH="1">
            <a:off x="821966" y="3537586"/>
            <a:ext cx="656314" cy="11306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9" name="Rounded Rectangle 28"/>
          <p:cNvSpPr/>
          <p:nvPr userDrawn="1"/>
        </p:nvSpPr>
        <p:spPr>
          <a:xfrm rot="10800000" flipH="1">
            <a:off x="1332506" y="1485904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>
          <a:xfrm rot="10800000" flipH="1">
            <a:off x="5869870" y="4960620"/>
            <a:ext cx="780312" cy="2489662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 rot="10800000" flipH="1">
            <a:off x="6933206" y="4960621"/>
            <a:ext cx="656314" cy="11306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accent3">
              <a:lumMod val="10000"/>
            </a:schemeClr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34" name="Rounded Rectangle 33"/>
          <p:cNvSpPr/>
          <p:nvPr/>
        </p:nvSpPr>
        <p:spPr>
          <a:xfrm rot="10800000" flipH="1">
            <a:off x="2191491" y="5039592"/>
            <a:ext cx="662549" cy="474829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5" name="Rounded Rectangle 34"/>
          <p:cNvSpPr/>
          <p:nvPr/>
        </p:nvSpPr>
        <p:spPr>
          <a:xfrm rot="10800000" flipH="1">
            <a:off x="2794161" y="5001450"/>
            <a:ext cx="779356" cy="415973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6" name="Rounded Rectangle 35"/>
          <p:cNvSpPr/>
          <p:nvPr/>
        </p:nvSpPr>
        <p:spPr>
          <a:xfrm rot="10800000" flipH="1">
            <a:off x="4920834" y="768931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7" name="Rounded Rectangle 36"/>
          <p:cNvSpPr/>
          <p:nvPr/>
        </p:nvSpPr>
        <p:spPr>
          <a:xfrm rot="10800000" flipH="1">
            <a:off x="5391889" y="1298867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8" name="Rounded Rectangle 37"/>
          <p:cNvSpPr/>
          <p:nvPr userDrawn="1"/>
        </p:nvSpPr>
        <p:spPr>
          <a:xfrm rot="10800000" flipH="1">
            <a:off x="341313" y="5031564"/>
            <a:ext cx="780312" cy="248966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9" name="Rounded Rectangle 38"/>
          <p:cNvSpPr/>
          <p:nvPr/>
        </p:nvSpPr>
        <p:spPr>
          <a:xfrm rot="10800000" flipH="1">
            <a:off x="8038251" y="6238701"/>
            <a:ext cx="780312" cy="2489662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1" name="Rounded Rectangle 40"/>
          <p:cNvSpPr/>
          <p:nvPr/>
        </p:nvSpPr>
        <p:spPr>
          <a:xfrm rot="10800000" flipH="1">
            <a:off x="8162249" y="1298867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2" name="Rounded Rectangle 41"/>
          <p:cNvSpPr/>
          <p:nvPr/>
        </p:nvSpPr>
        <p:spPr>
          <a:xfrm rot="10800000" flipH="1">
            <a:off x="3770906" y="1485904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0" y="1"/>
            <a:ext cx="9129008" cy="4783736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1" y="4903470"/>
            <a:ext cx="9129008" cy="2400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3" name="Rectangle 4"/>
          <p:cNvSpPr>
            <a:spLocks noChangeArrowheads="1"/>
          </p:cNvSpPr>
          <p:nvPr/>
        </p:nvSpPr>
        <p:spPr bwMode="ltGray">
          <a:xfrm>
            <a:off x="251378" y="4895875"/>
            <a:ext cx="19483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4" name="Rectangle 5"/>
          <p:cNvSpPr>
            <a:spLocks noChangeArrowheads="1"/>
          </p:cNvSpPr>
          <p:nvPr/>
        </p:nvSpPr>
        <p:spPr bwMode="ltGray">
          <a:xfrm>
            <a:off x="7789670" y="4894574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5" name="Rectangle 7"/>
          <p:cNvSpPr>
            <a:spLocks noChangeArrowheads="1"/>
          </p:cNvSpPr>
          <p:nvPr/>
        </p:nvSpPr>
        <p:spPr bwMode="ltGray">
          <a:xfrm>
            <a:off x="8650072" y="4891496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1" y="4903470"/>
            <a:ext cx="9129008" cy="2400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02" name="Rectangle 4"/>
          <p:cNvSpPr>
            <a:spLocks noChangeArrowheads="1"/>
          </p:cNvSpPr>
          <p:nvPr/>
        </p:nvSpPr>
        <p:spPr bwMode="ltGray">
          <a:xfrm>
            <a:off x="251378" y="4895875"/>
            <a:ext cx="19483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03" name="Rectangle 5"/>
          <p:cNvSpPr>
            <a:spLocks noChangeArrowheads="1"/>
          </p:cNvSpPr>
          <p:nvPr/>
        </p:nvSpPr>
        <p:spPr bwMode="ltGray">
          <a:xfrm>
            <a:off x="7789670" y="4894574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04" name="Rectangle 7"/>
          <p:cNvSpPr>
            <a:spLocks noChangeArrowheads="1"/>
          </p:cNvSpPr>
          <p:nvPr/>
        </p:nvSpPr>
        <p:spPr bwMode="ltGray">
          <a:xfrm>
            <a:off x="8650072" y="4891496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54"/>
            <a:ext cx="8112126" cy="288131"/>
          </a:xfrm>
        </p:spPr>
        <p:txBody>
          <a:bodyPr>
            <a:normAutofit/>
          </a:bodyPr>
          <a:lstStyle>
            <a:lvl1pPr marL="0" indent="0" algn="l">
              <a:buNone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21402" y="936176"/>
            <a:ext cx="8112125" cy="218042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b="0" kern="1200" spc="-200" baseline="0" dirty="0">
                <a:gradFill flip="none" rotWithShape="1">
                  <a:gsLst>
                    <a:gs pos="0">
                      <a:srgbClr val="55E6ED"/>
                    </a:gs>
                    <a:gs pos="80000">
                      <a:srgbClr val="009249"/>
                    </a:gs>
                  </a:gsLst>
                  <a:lin ang="12000000" scaled="0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109" name="Rectangle 108"/>
          <p:cNvSpPr/>
          <p:nvPr/>
        </p:nvSpPr>
        <p:spPr>
          <a:xfrm>
            <a:off x="1" y="4903470"/>
            <a:ext cx="9129008" cy="2400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10" name="Rectangle 4"/>
          <p:cNvSpPr>
            <a:spLocks noChangeArrowheads="1"/>
          </p:cNvSpPr>
          <p:nvPr/>
        </p:nvSpPr>
        <p:spPr bwMode="ltGray">
          <a:xfrm>
            <a:off x="251378" y="4895875"/>
            <a:ext cx="19483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11" name="Rectangle 5"/>
          <p:cNvSpPr>
            <a:spLocks noChangeArrowheads="1"/>
          </p:cNvSpPr>
          <p:nvPr/>
        </p:nvSpPr>
        <p:spPr bwMode="ltGray">
          <a:xfrm>
            <a:off x="7789670" y="4894574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12" name="Rectangle 7"/>
          <p:cNvSpPr>
            <a:spLocks noChangeArrowheads="1"/>
          </p:cNvSpPr>
          <p:nvPr/>
        </p:nvSpPr>
        <p:spPr bwMode="ltGray">
          <a:xfrm>
            <a:off x="8650072" y="4891496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grpSp>
        <p:nvGrpSpPr>
          <p:cNvPr id="2" name="Group 67"/>
          <p:cNvGrpSpPr/>
          <p:nvPr/>
        </p:nvGrpSpPr>
        <p:grpSpPr>
          <a:xfrm>
            <a:off x="341314" y="233367"/>
            <a:ext cx="829170" cy="328769"/>
            <a:chOff x="609600" y="528537"/>
            <a:chExt cx="1444734" cy="763789"/>
          </a:xfrm>
          <a:gradFill flip="none" rotWithShape="1">
            <a:gsLst>
              <a:gs pos="11000">
                <a:schemeClr val="accent2"/>
              </a:gs>
              <a:gs pos="100000">
                <a:schemeClr val="accent5"/>
              </a:gs>
            </a:gsLst>
            <a:lin ang="2700000" scaled="1"/>
            <a:tileRect/>
          </a:gradFill>
        </p:grpSpPr>
        <p:sp>
          <p:nvSpPr>
            <p:cNvPr id="69" name="Rectangle 68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1" name="Freeform 70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2" name="Freeform 71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3" name="Freeform 72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4" name="Freeform 73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7" name="Freeform 76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57" name="Rectangle 56"/>
          <p:cNvSpPr/>
          <p:nvPr userDrawn="1"/>
        </p:nvSpPr>
        <p:spPr>
          <a:xfrm>
            <a:off x="1" y="4903470"/>
            <a:ext cx="9129008" cy="240030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9" name="Rectangle 5"/>
          <p:cNvSpPr>
            <a:spLocks noChangeArrowheads="1"/>
          </p:cNvSpPr>
          <p:nvPr userDrawn="1"/>
        </p:nvSpPr>
        <p:spPr bwMode="ltGray">
          <a:xfrm>
            <a:off x="7789670" y="4894574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60" name="Rectangle 7"/>
          <p:cNvSpPr>
            <a:spLocks noChangeArrowheads="1"/>
          </p:cNvSpPr>
          <p:nvPr userDrawn="1"/>
        </p:nvSpPr>
        <p:spPr bwMode="ltGray">
          <a:xfrm>
            <a:off x="8650072" y="4891496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6" name="Rectangle 4"/>
          <p:cNvSpPr>
            <a:spLocks noChangeArrowheads="1"/>
          </p:cNvSpPr>
          <p:nvPr userDrawn="1"/>
        </p:nvSpPr>
        <p:spPr bwMode="ltGray">
          <a:xfrm>
            <a:off x="251382" y="4895875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782481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grpId="0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6" grpId="0" animBg="1"/>
      <p:bldP spid="45" grpId="0" animBg="1"/>
      <p:bldP spid="33" grpId="0" animBg="1"/>
      <p:bldP spid="28" grpId="0" animBg="1"/>
      <p:bldP spid="29" grpId="0" animBg="1"/>
      <p:bldP spid="30" grpId="0" animBg="1"/>
      <p:bldP spid="31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1" grpId="0" animBg="1"/>
      <p:bldP spid="42" grpId="0" animBg="1"/>
    </p:bld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-animated bar_sta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ottom bar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375" y="4781146"/>
            <a:ext cx="8477250" cy="128588"/>
          </a:xfrm>
          <a:prstGeom prst="rect">
            <a:avLst/>
          </a:prstGeom>
        </p:spPr>
      </p:pic>
      <p:pic>
        <p:nvPicPr>
          <p:cNvPr id="43" name="Picture 42" descr="bottom bar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375" y="4781146"/>
            <a:ext cx="8477250" cy="128588"/>
          </a:xfrm>
          <a:prstGeom prst="rect">
            <a:avLst/>
          </a:prstGeom>
        </p:spPr>
      </p:pic>
      <p:sp>
        <p:nvSpPr>
          <p:cNvPr id="47" name="Rectangle 46"/>
          <p:cNvSpPr/>
          <p:nvPr/>
        </p:nvSpPr>
        <p:spPr>
          <a:xfrm>
            <a:off x="3405361" y="4171951"/>
            <a:ext cx="599089" cy="8592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460948" y="4229101"/>
            <a:ext cx="472965" cy="859220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771706" y="4171951"/>
            <a:ext cx="472965" cy="859220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/>
        </p:nvSpPr>
        <p:spPr>
          <a:xfrm rot="10800000" flipH="1">
            <a:off x="2856506" y="623458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8" name="Rounded Rectangle 27"/>
          <p:cNvSpPr/>
          <p:nvPr userDrawn="1"/>
        </p:nvSpPr>
        <p:spPr>
          <a:xfrm rot="10800000" flipH="1">
            <a:off x="821966" y="3537586"/>
            <a:ext cx="656314" cy="11306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9" name="Rounded Rectangle 28"/>
          <p:cNvSpPr/>
          <p:nvPr userDrawn="1"/>
        </p:nvSpPr>
        <p:spPr>
          <a:xfrm rot="10800000" flipH="1">
            <a:off x="1332506" y="1485904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accent3">
              <a:lumMod val="10000"/>
            </a:schemeClr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36" name="Rounded Rectangle 35"/>
          <p:cNvSpPr/>
          <p:nvPr/>
        </p:nvSpPr>
        <p:spPr>
          <a:xfrm rot="10800000" flipH="1">
            <a:off x="4920834" y="768931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7" name="Rounded Rectangle 36"/>
          <p:cNvSpPr/>
          <p:nvPr/>
        </p:nvSpPr>
        <p:spPr>
          <a:xfrm rot="10800000" flipH="1">
            <a:off x="5391889" y="1298867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1" name="Rounded Rectangle 40"/>
          <p:cNvSpPr/>
          <p:nvPr/>
        </p:nvSpPr>
        <p:spPr>
          <a:xfrm rot="10800000" flipH="1">
            <a:off x="8162249" y="1298867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2" name="Rounded Rectangle 41"/>
          <p:cNvSpPr/>
          <p:nvPr/>
        </p:nvSpPr>
        <p:spPr>
          <a:xfrm rot="10800000" flipH="1">
            <a:off x="3770906" y="1485904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14992" y="1"/>
            <a:ext cx="9129008" cy="4783736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1" y="4903470"/>
            <a:ext cx="9129008" cy="2400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3" name="Rectangle 4"/>
          <p:cNvSpPr>
            <a:spLocks noChangeArrowheads="1"/>
          </p:cNvSpPr>
          <p:nvPr/>
        </p:nvSpPr>
        <p:spPr bwMode="ltGray">
          <a:xfrm>
            <a:off x="251378" y="4895875"/>
            <a:ext cx="19483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4" name="Rectangle 5"/>
          <p:cNvSpPr>
            <a:spLocks noChangeArrowheads="1"/>
          </p:cNvSpPr>
          <p:nvPr/>
        </p:nvSpPr>
        <p:spPr bwMode="ltGray">
          <a:xfrm>
            <a:off x="7789670" y="4894574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5" name="Rectangle 7"/>
          <p:cNvSpPr>
            <a:spLocks noChangeArrowheads="1"/>
          </p:cNvSpPr>
          <p:nvPr/>
        </p:nvSpPr>
        <p:spPr bwMode="ltGray">
          <a:xfrm>
            <a:off x="8650072" y="4891496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1" y="4903470"/>
            <a:ext cx="9129008" cy="2400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02" name="Rectangle 4"/>
          <p:cNvSpPr>
            <a:spLocks noChangeArrowheads="1"/>
          </p:cNvSpPr>
          <p:nvPr/>
        </p:nvSpPr>
        <p:spPr bwMode="ltGray">
          <a:xfrm>
            <a:off x="251378" y="4895875"/>
            <a:ext cx="19483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03" name="Rectangle 5"/>
          <p:cNvSpPr>
            <a:spLocks noChangeArrowheads="1"/>
          </p:cNvSpPr>
          <p:nvPr/>
        </p:nvSpPr>
        <p:spPr bwMode="ltGray">
          <a:xfrm>
            <a:off x="7789670" y="4894574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04" name="Rectangle 7"/>
          <p:cNvSpPr>
            <a:spLocks noChangeArrowheads="1"/>
          </p:cNvSpPr>
          <p:nvPr/>
        </p:nvSpPr>
        <p:spPr bwMode="ltGray">
          <a:xfrm>
            <a:off x="8650072" y="4891496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54"/>
            <a:ext cx="8112126" cy="288131"/>
          </a:xfrm>
        </p:spPr>
        <p:txBody>
          <a:bodyPr>
            <a:normAutofit/>
          </a:bodyPr>
          <a:lstStyle>
            <a:lvl1pPr marL="0" indent="0" algn="l">
              <a:buNone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21402" y="936176"/>
            <a:ext cx="8112125" cy="218042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b="0" kern="1200" spc="-200" baseline="0" dirty="0">
                <a:gradFill flip="none" rotWithShape="1">
                  <a:gsLst>
                    <a:gs pos="0">
                      <a:srgbClr val="55E6ED"/>
                    </a:gs>
                    <a:gs pos="80000">
                      <a:srgbClr val="009249"/>
                    </a:gs>
                  </a:gsLst>
                  <a:lin ang="12000000" scaled="0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109" name="Rectangle 108"/>
          <p:cNvSpPr/>
          <p:nvPr/>
        </p:nvSpPr>
        <p:spPr>
          <a:xfrm>
            <a:off x="1" y="4903470"/>
            <a:ext cx="9129008" cy="2400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10" name="Rectangle 4"/>
          <p:cNvSpPr>
            <a:spLocks noChangeArrowheads="1"/>
          </p:cNvSpPr>
          <p:nvPr/>
        </p:nvSpPr>
        <p:spPr bwMode="ltGray">
          <a:xfrm>
            <a:off x="251378" y="4895875"/>
            <a:ext cx="19483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11" name="Rectangle 5"/>
          <p:cNvSpPr>
            <a:spLocks noChangeArrowheads="1"/>
          </p:cNvSpPr>
          <p:nvPr/>
        </p:nvSpPr>
        <p:spPr bwMode="ltGray">
          <a:xfrm>
            <a:off x="7789670" y="4894574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12" name="Rectangle 7"/>
          <p:cNvSpPr>
            <a:spLocks noChangeArrowheads="1"/>
          </p:cNvSpPr>
          <p:nvPr/>
        </p:nvSpPr>
        <p:spPr bwMode="ltGray">
          <a:xfrm>
            <a:off x="8650072" y="4891496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grpSp>
        <p:nvGrpSpPr>
          <p:cNvPr id="2" name="Group 67"/>
          <p:cNvGrpSpPr/>
          <p:nvPr/>
        </p:nvGrpSpPr>
        <p:grpSpPr>
          <a:xfrm>
            <a:off x="341314" y="233367"/>
            <a:ext cx="829170" cy="328769"/>
            <a:chOff x="609600" y="528537"/>
            <a:chExt cx="1444734" cy="763789"/>
          </a:xfrm>
          <a:gradFill flip="none" rotWithShape="1">
            <a:gsLst>
              <a:gs pos="11000">
                <a:schemeClr val="accent2"/>
              </a:gs>
              <a:gs pos="100000">
                <a:schemeClr val="accent5"/>
              </a:gs>
            </a:gsLst>
            <a:lin ang="2700000" scaled="1"/>
            <a:tileRect/>
          </a:gradFill>
        </p:grpSpPr>
        <p:sp>
          <p:nvSpPr>
            <p:cNvPr id="69" name="Rectangle 68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1" name="Freeform 70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2" name="Freeform 71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3" name="Freeform 72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4" name="Freeform 73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7" name="Freeform 76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57" name="Rectangle 56"/>
          <p:cNvSpPr/>
          <p:nvPr userDrawn="1"/>
        </p:nvSpPr>
        <p:spPr>
          <a:xfrm>
            <a:off x="1" y="4903470"/>
            <a:ext cx="9129008" cy="240030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9" name="Rectangle 5"/>
          <p:cNvSpPr>
            <a:spLocks noChangeArrowheads="1"/>
          </p:cNvSpPr>
          <p:nvPr userDrawn="1"/>
        </p:nvSpPr>
        <p:spPr bwMode="ltGray">
          <a:xfrm>
            <a:off x="7789670" y="4894574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60" name="Rectangle 7"/>
          <p:cNvSpPr>
            <a:spLocks noChangeArrowheads="1"/>
          </p:cNvSpPr>
          <p:nvPr userDrawn="1"/>
        </p:nvSpPr>
        <p:spPr bwMode="ltGray">
          <a:xfrm>
            <a:off x="8650072" y="4891496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6" name="Rectangle 4"/>
          <p:cNvSpPr>
            <a:spLocks noChangeArrowheads="1"/>
          </p:cNvSpPr>
          <p:nvPr userDrawn="1"/>
        </p:nvSpPr>
        <p:spPr bwMode="ltGray">
          <a:xfrm>
            <a:off x="251382" y="4895875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5239789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soli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29" name="Rounded Rectangle 28"/>
          <p:cNvSpPr/>
          <p:nvPr/>
        </p:nvSpPr>
        <p:spPr>
          <a:xfrm>
            <a:off x="1823499" y="-2677944"/>
            <a:ext cx="1729740" cy="1051063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0" y="-478290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 rot="10800000">
            <a:off x="1013791" y="3186456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2" name="Rounded Rectangle 31"/>
          <p:cNvSpPr/>
          <p:nvPr userDrawn="1"/>
        </p:nvSpPr>
        <p:spPr>
          <a:xfrm>
            <a:off x="6585483" y="-2184960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 userDrawn="1"/>
        </p:nvSpPr>
        <p:spPr>
          <a:xfrm>
            <a:off x="8105451" y="4274400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4" name="Rounded Rectangle 33"/>
          <p:cNvSpPr/>
          <p:nvPr/>
        </p:nvSpPr>
        <p:spPr>
          <a:xfrm rot="10800000">
            <a:off x="3036073" y="1137133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402" y="927517"/>
            <a:ext cx="8112125" cy="2189084"/>
          </a:xfrm>
        </p:spPr>
        <p:txBody>
          <a:bodyPr/>
          <a:lstStyle>
            <a:lvl1pPr>
              <a:lnSpc>
                <a:spcPct val="90000"/>
              </a:lnSpc>
              <a:defRPr sz="6000" b="0" spc="-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grpSp>
        <p:nvGrpSpPr>
          <p:cNvPr id="4" name="Group 38"/>
          <p:cNvGrpSpPr/>
          <p:nvPr/>
        </p:nvGrpSpPr>
        <p:grpSpPr>
          <a:xfrm>
            <a:off x="341314" y="233367"/>
            <a:ext cx="829170" cy="328769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4" name="Rectangle 63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7" name="Freeform 66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9" name="Freeform 6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1" name="Freeform 7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2" name="Freeform 7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3" name="Freeform 7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4" name="Freeform 7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7" name="Freeform 7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56"/>
            <a:ext cx="8112126" cy="288131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58" name="Rectangle 5"/>
          <p:cNvSpPr>
            <a:spLocks noChangeArrowheads="1"/>
          </p:cNvSpPr>
          <p:nvPr/>
        </p:nvSpPr>
        <p:spPr bwMode="ltGray">
          <a:xfrm>
            <a:off x="7789670" y="4894574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EEECE1"/>
                </a:solidFill>
                <a:latin typeface="Arial"/>
              </a:rPr>
              <a:t>Cisco Confidential</a:t>
            </a:r>
          </a:p>
        </p:txBody>
      </p:sp>
      <p:sp>
        <p:nvSpPr>
          <p:cNvPr id="59" name="Rectangle 7"/>
          <p:cNvSpPr>
            <a:spLocks noChangeArrowheads="1"/>
          </p:cNvSpPr>
          <p:nvPr/>
        </p:nvSpPr>
        <p:spPr bwMode="ltGray">
          <a:xfrm>
            <a:off x="8650072" y="4891496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EEECE1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EEECE1"/>
              </a:solidFill>
              <a:latin typeface="Arial"/>
            </a:endParaRPr>
          </a:p>
        </p:txBody>
      </p:sp>
      <p:sp>
        <p:nvSpPr>
          <p:cNvPr id="36" name="Rectangle 4"/>
          <p:cNvSpPr>
            <a:spLocks noChangeArrowheads="1"/>
          </p:cNvSpPr>
          <p:nvPr userDrawn="1"/>
        </p:nvSpPr>
        <p:spPr bwMode="ltGray">
          <a:xfrm>
            <a:off x="251382" y="4895875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8572081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solid gradient_sta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37" name="Rounded Rectangle 36"/>
          <p:cNvSpPr/>
          <p:nvPr userDrawn="1"/>
        </p:nvSpPr>
        <p:spPr>
          <a:xfrm>
            <a:off x="1823499" y="2481711"/>
            <a:ext cx="1729740" cy="1051063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8" name="Rounded Rectangle 37"/>
          <p:cNvSpPr/>
          <p:nvPr userDrawn="1"/>
        </p:nvSpPr>
        <p:spPr>
          <a:xfrm>
            <a:off x="0" y="927521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9" name="Rounded Rectangle 38"/>
          <p:cNvSpPr/>
          <p:nvPr userDrawn="1"/>
        </p:nvSpPr>
        <p:spPr>
          <a:xfrm rot="10800000">
            <a:off x="1013791" y="3186456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0" name="Rounded Rectangle 39"/>
          <p:cNvSpPr/>
          <p:nvPr userDrawn="1"/>
        </p:nvSpPr>
        <p:spPr>
          <a:xfrm>
            <a:off x="6585483" y="-1542021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1" name="Rounded Rectangle 40"/>
          <p:cNvSpPr/>
          <p:nvPr userDrawn="1"/>
        </p:nvSpPr>
        <p:spPr>
          <a:xfrm>
            <a:off x="8105451" y="2087843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2" name="Rounded Rectangle 41"/>
          <p:cNvSpPr/>
          <p:nvPr userDrawn="1"/>
        </p:nvSpPr>
        <p:spPr>
          <a:xfrm rot="10800000">
            <a:off x="3036073" y="130796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402" y="927517"/>
            <a:ext cx="8112125" cy="2189084"/>
          </a:xfrm>
        </p:spPr>
        <p:txBody>
          <a:bodyPr/>
          <a:lstStyle>
            <a:lvl1pPr>
              <a:lnSpc>
                <a:spcPct val="90000"/>
              </a:lnSpc>
              <a:defRPr sz="6000" b="0" spc="-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grpSp>
        <p:nvGrpSpPr>
          <p:cNvPr id="4" name="Group 38"/>
          <p:cNvGrpSpPr/>
          <p:nvPr/>
        </p:nvGrpSpPr>
        <p:grpSpPr>
          <a:xfrm>
            <a:off x="341314" y="233367"/>
            <a:ext cx="829170" cy="328769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4" name="Rectangle 63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7" name="Freeform 66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9" name="Freeform 6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1" name="Freeform 7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2" name="Freeform 7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3" name="Freeform 7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4" name="Freeform 7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7" name="Freeform 7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56"/>
            <a:ext cx="8112126" cy="288131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58" name="Rectangle 5"/>
          <p:cNvSpPr>
            <a:spLocks noChangeArrowheads="1"/>
          </p:cNvSpPr>
          <p:nvPr/>
        </p:nvSpPr>
        <p:spPr bwMode="ltGray">
          <a:xfrm>
            <a:off x="7789670" y="4894574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EEECE1"/>
                </a:solidFill>
                <a:latin typeface="Arial"/>
              </a:rPr>
              <a:t>Cisco Confidential</a:t>
            </a:r>
          </a:p>
        </p:txBody>
      </p:sp>
      <p:sp>
        <p:nvSpPr>
          <p:cNvPr id="59" name="Rectangle 7"/>
          <p:cNvSpPr>
            <a:spLocks noChangeArrowheads="1"/>
          </p:cNvSpPr>
          <p:nvPr/>
        </p:nvSpPr>
        <p:spPr bwMode="ltGray">
          <a:xfrm>
            <a:off x="8650072" y="4891496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EEECE1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EEECE1"/>
              </a:solidFill>
              <a:latin typeface="Arial"/>
            </a:endParaRPr>
          </a:p>
        </p:txBody>
      </p:sp>
      <p:sp>
        <p:nvSpPr>
          <p:cNvPr id="36" name="Rectangle 4"/>
          <p:cNvSpPr>
            <a:spLocks noChangeArrowheads="1"/>
          </p:cNvSpPr>
          <p:nvPr userDrawn="1"/>
        </p:nvSpPr>
        <p:spPr bwMode="ltGray">
          <a:xfrm>
            <a:off x="251382" y="4895875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87036171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4800" y="2330055"/>
            <a:ext cx="8534400" cy="2578894"/>
          </a:xfrm>
          <a:prstGeom prst="rect">
            <a:avLst/>
          </a:prstGeom>
          <a:noFill/>
        </p:spPr>
      </p:pic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402" y="299359"/>
            <a:ext cx="8112125" cy="1805282"/>
          </a:xfr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5400" b="0" kern="1200" spc="-150" baseline="0" dirty="0">
                <a:gradFill flip="none" rotWithShape="1">
                  <a:gsLst>
                    <a:gs pos="0">
                      <a:srgbClr val="55E6ED"/>
                    </a:gs>
                    <a:gs pos="80000">
                      <a:srgbClr val="009249"/>
                    </a:gs>
                  </a:gsLst>
                  <a:lin ang="12000000" scaled="0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89670" y="4894574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50072" y="4891496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51382" y="4895875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8952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1" y="324161"/>
            <a:ext cx="8588861" cy="62865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081013"/>
            <a:ext cx="8578850" cy="3395741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8532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1" y="324161"/>
            <a:ext cx="8588861" cy="62865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22" y="1004810"/>
            <a:ext cx="4122425" cy="3724275"/>
          </a:xfrm>
        </p:spPr>
        <p:txBody>
          <a:bodyPr>
            <a:norm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90" y="1004810"/>
            <a:ext cx="4122425" cy="3724275"/>
          </a:xfrm>
        </p:spPr>
        <p:txBody>
          <a:bodyPr>
            <a:norm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8875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 userDrawn="1"/>
        </p:nvSpPr>
        <p:spPr>
          <a:xfrm>
            <a:off x="4984231" y="1058436"/>
            <a:ext cx="3759720" cy="359549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1" y="324161"/>
            <a:ext cx="8588861" cy="62865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22" y="1004810"/>
            <a:ext cx="4103687" cy="3724275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221224" y="1310763"/>
            <a:ext cx="3236976" cy="651460"/>
          </a:xfrm>
        </p:spPr>
        <p:txBody>
          <a:bodyPr>
            <a:spAutoFit/>
          </a:bodyPr>
          <a:lstStyle>
            <a:lvl1pPr marL="114300" indent="-114300"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chemeClr val="tx1"/>
                    </a:gs>
                    <a:gs pos="47000">
                      <a:schemeClr val="accent2"/>
                    </a:gs>
                    <a:gs pos="100000">
                      <a:schemeClr val="accent4"/>
                    </a:gs>
                  </a:gsLst>
                  <a:lin ang="3600000" scaled="0"/>
                </a:gradFill>
                <a:latin typeface="+mj-lt"/>
                <a:ea typeface="+mn-ea"/>
                <a:cs typeface="+mn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“This is the sample </a:t>
            </a:r>
            <a:br>
              <a:rPr lang="en-US" dirty="0" smtClean="0"/>
            </a:br>
            <a:r>
              <a:rPr lang="en-US" dirty="0" smtClean="0"/>
              <a:t>pull quote.”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10432" y="3551663"/>
            <a:ext cx="3236976" cy="338554"/>
          </a:xfrm>
          <a:noFill/>
        </p:spPr>
        <p:txBody>
          <a:bodyPr vert="horz" wrap="square" lIns="91440" tIns="45720" rIns="91440" bIns="45720" rtlCol="0">
            <a:spAutoFit/>
          </a:bodyPr>
          <a:lstStyle>
            <a:lvl1pPr marL="114300" marR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iscolight" pitchFamily="2" charset="0"/>
                <a:ea typeface="+mn-ea"/>
                <a:cs typeface="+mn-cs"/>
              </a:rPr>
              <a:t>Source Name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51374" y="4895875"/>
            <a:ext cx="2568027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789670" y="4894574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ltGray">
          <a:xfrm>
            <a:off x="8650072" y="4891496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pic>
        <p:nvPicPr>
          <p:cNvPr id="21" name="Picture 20" descr="verticalba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8244" y="1001487"/>
            <a:ext cx="83809" cy="372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84958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1" y="324161"/>
            <a:ext cx="8588861" cy="628650"/>
          </a:xfrm>
        </p:spPr>
        <p:txBody>
          <a:bodyPr/>
          <a:lstStyle>
            <a:lvl1pPr>
              <a:defRPr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32929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22" name="Rectangle 2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3" cstate="email">
              <a:alphaModFix amt="29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9" name="Rounded Rectangle 58"/>
          <p:cNvSpPr/>
          <p:nvPr userDrawn="1"/>
        </p:nvSpPr>
        <p:spPr>
          <a:xfrm>
            <a:off x="160758" y="-1581784"/>
            <a:ext cx="1508760" cy="2672231"/>
          </a:xfrm>
          <a:prstGeom prst="roundRect">
            <a:avLst>
              <a:gd name="adj" fmla="val 50000"/>
            </a:avLst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Title 8"/>
          <p:cNvSpPr>
            <a:spLocks noGrp="1"/>
          </p:cNvSpPr>
          <p:nvPr>
            <p:ph type="title"/>
          </p:nvPr>
        </p:nvSpPr>
        <p:spPr>
          <a:xfrm>
            <a:off x="676003" y="1637698"/>
            <a:ext cx="4349918" cy="124097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1719498" y="170878"/>
            <a:ext cx="38830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2800" dirty="0">
                <a:solidFill>
                  <a:srgbClr val="FFFFFF"/>
                </a:solidFill>
                <a:latin typeface="Arial Narrow" pitchFamily="34" charset="0"/>
              </a:rPr>
              <a:t>Talent Management</a:t>
            </a:r>
            <a:endParaRPr lang="en-GB" sz="2800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681134" y="1512206"/>
            <a:ext cx="3031895" cy="3631295"/>
          </a:xfrm>
          <a:prstGeom prst="round2SameRect">
            <a:avLst>
              <a:gd name="adj1" fmla="val 50000"/>
              <a:gd name="adj2" fmla="val 0"/>
            </a:avLst>
          </a:prstGeom>
        </p:spPr>
        <p:txBody>
          <a:bodyPr anchor="ctr" anchorCtr="1"/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grpSp>
        <p:nvGrpSpPr>
          <p:cNvPr id="26" name="Group 3"/>
          <p:cNvGrpSpPr/>
          <p:nvPr userDrawn="1"/>
        </p:nvGrpSpPr>
        <p:grpSpPr>
          <a:xfrm>
            <a:off x="231245" y="4445000"/>
            <a:ext cx="825168" cy="436242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27" name="Rectangle 26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0" name="Freeform 29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srgbClr val="0096D6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900627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226314"/>
            <a:ext cx="4123944" cy="628650"/>
          </a:xfrm>
        </p:spPr>
        <p:txBody>
          <a:bodyPr vert="horz" lIns="82296" tIns="45720" rIns="82296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 smtClean="0"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818888" y="233172"/>
            <a:ext cx="3895344" cy="630936"/>
          </a:xfrm>
        </p:spPr>
        <p:txBody>
          <a:bodyPr vert="horz" lIns="82296" tIns="45720" rIns="82296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Righ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19455" y="1200150"/>
            <a:ext cx="4142232" cy="339471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j-lt"/>
              </a:defRPr>
            </a:lvl1pPr>
            <a:lvl2pPr marL="635000" indent="-228600">
              <a:buClr>
                <a:schemeClr val="accent5"/>
              </a:buClr>
              <a:buFont typeface="Arial" pitchFamily="34" charset="0"/>
              <a:buChar char="•"/>
              <a:tabLst/>
              <a:defRPr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818888" y="1200150"/>
            <a:ext cx="4005072" cy="339471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635000" indent="-228600">
              <a:buClr>
                <a:schemeClr val="accent1">
                  <a:lumMod val="40000"/>
                  <a:lumOff val="60000"/>
                </a:schemeClr>
              </a:buClr>
              <a:buFont typeface="Arial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ltGray">
          <a:xfrm>
            <a:off x="7789670" y="4894574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ltGray">
          <a:xfrm>
            <a:off x="8650072" y="4891496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pic>
        <p:nvPicPr>
          <p:cNvPr id="15" name="Picture 14" descr="verticalba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7867" y="583250"/>
            <a:ext cx="89319" cy="3965757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51374" y="4895875"/>
            <a:ext cx="2568027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536676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315076" y="73781"/>
            <a:ext cx="2633472" cy="864108"/>
          </a:xfrm>
        </p:spPr>
        <p:txBody>
          <a:bodyPr anchor="b">
            <a:noAutofit/>
          </a:bodyPr>
          <a:lstStyle>
            <a:lvl1pPr>
              <a:defRPr kumimoji="0" lang="en-US" sz="3000" b="0" i="0" u="none" strike="noStrike" kern="1200" cap="none" spc="-100" normalizeH="0" baseline="0" noProof="0" dirty="0" smtClean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" name="Rectangle 2"/>
          <p:cNvSpPr/>
          <p:nvPr/>
        </p:nvSpPr>
        <p:spPr>
          <a:xfrm flipV="1">
            <a:off x="217366" y="4766876"/>
            <a:ext cx="8694295" cy="157943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15902" y="73783"/>
            <a:ext cx="2670175" cy="863204"/>
          </a:xfrm>
        </p:spPr>
        <p:txBody>
          <a:bodyPr anchor="b">
            <a:noAutofit/>
          </a:bodyPr>
          <a:lstStyle>
            <a:lvl1pPr>
              <a:defRPr kumimoji="0" lang="en-US" sz="3000" b="0" i="0" u="none" strike="noStrike" kern="1200" cap="none" spc="-100" normalizeH="0" baseline="0" noProof="0" dirty="0" smtClean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295651" y="73781"/>
            <a:ext cx="2596896" cy="864108"/>
          </a:xfrm>
        </p:spPr>
        <p:txBody>
          <a:bodyPr anchor="b">
            <a:noAutofit/>
          </a:bodyPr>
          <a:lstStyle>
            <a:lvl1pPr>
              <a:defRPr kumimoji="0" lang="en-US" sz="3000" b="0" i="0" u="none" strike="noStrike" kern="1200" cap="none" spc="-100" normalizeH="0" baseline="0" noProof="0" dirty="0" smtClean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200154"/>
            <a:ext cx="2622550" cy="329326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80" y="1200151"/>
            <a:ext cx="2593975" cy="3271838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200151"/>
            <a:ext cx="2633662" cy="3250406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6" name="Picture 15" descr="verticalba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8166" y="583250"/>
            <a:ext cx="89319" cy="3965757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 descr="verticalba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9017" y="583250"/>
            <a:ext cx="89319" cy="396575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8445983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246972" y="329783"/>
            <a:ext cx="8567244" cy="62865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73" y="1107281"/>
            <a:ext cx="8439461" cy="3228975"/>
          </a:xfrm>
        </p:spPr>
        <p:txBody>
          <a:bodyPr anchor="ctr" anchorCtr="1"/>
          <a:lstStyle>
            <a:lvl1pPr>
              <a:buNone/>
              <a:defRPr>
                <a:latin typeface="+mj-lt"/>
              </a:defRPr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6" y="4477340"/>
            <a:ext cx="7461250" cy="276999"/>
          </a:xfrm>
        </p:spPr>
        <p:txBody>
          <a:bodyPr wrap="square" anchor="b" anchorCtr="0">
            <a:sp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2860969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4072683"/>
            <a:ext cx="8558698" cy="628650"/>
          </a:xfr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6888" y="1200150"/>
            <a:ext cx="4005072" cy="2811780"/>
          </a:xfrm>
        </p:spPr>
        <p:txBody>
          <a:bodyPr anchor="ctr" anchorCtr="0">
            <a:normAutofit/>
          </a:bodyPr>
          <a:lstStyle>
            <a:lvl1pPr marL="0" indent="0">
              <a:buFontTx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Simple text goes here and can wrap to accommodate more lines of information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4873752" y="1460754"/>
            <a:ext cx="3429000" cy="2242566"/>
          </a:xfrm>
        </p:spPr>
        <p:txBody>
          <a:bodyPr anchor="ctr" anchorCtr="1"/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874881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4072683"/>
            <a:ext cx="8558698" cy="628650"/>
          </a:xfr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17513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3776" y="4389125"/>
            <a:ext cx="8112126" cy="288131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9465" y="486918"/>
            <a:ext cx="8112125" cy="3360420"/>
          </a:xfrm>
        </p:spPr>
        <p:txBody>
          <a:bodyPr/>
          <a:lstStyle>
            <a:lvl1pPr marL="233363" indent="-233363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Char char="“"/>
              <a:defRPr lang="en-US" sz="6000" b="0" kern="1200" spc="-2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351131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8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xmlns:p14="http://schemas.microsoft.com/office/powerpoint/2010/main" presetID="22" presetClass="entr" presetSubtype="4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4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1439060"/>
            <a:ext cx="4117446" cy="2265389"/>
          </a:xfrm>
        </p:spPr>
        <p:txBody>
          <a:bodyPr vert="horz" lIns="82296" tIns="45720" rIns="82296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-2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tx2">
                        <a:lumMod val="75000"/>
                      </a:schemeClr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19" y="233172"/>
            <a:ext cx="3895344" cy="4656582"/>
          </a:xfrm>
        </p:spPr>
        <p:txBody>
          <a:bodyPr anchor="ctr" anchorCtr="0">
            <a:normAutofit/>
          </a:bodyPr>
          <a:lstStyle>
            <a:lvl1pPr>
              <a:defRPr sz="2000" baseline="0">
                <a:solidFill>
                  <a:schemeClr val="tx1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  <p:pic>
        <p:nvPicPr>
          <p:cNvPr id="12" name="Picture 11" descr="verticalba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1936" y="583250"/>
            <a:ext cx="89319" cy="396575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07012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1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1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92" y="3209549"/>
            <a:ext cx="4684867" cy="28813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grpSp>
        <p:nvGrpSpPr>
          <p:cNvPr id="4" name="Group 38"/>
          <p:cNvGrpSpPr/>
          <p:nvPr userDrawn="1"/>
        </p:nvGrpSpPr>
        <p:grpSpPr>
          <a:xfrm>
            <a:off x="341322" y="233365"/>
            <a:ext cx="908367" cy="360170"/>
            <a:chOff x="609600" y="528537"/>
            <a:chExt cx="1444734" cy="763789"/>
          </a:xfrm>
          <a:gradFill flip="none" rotWithShape="1">
            <a:gsLst>
              <a:gs pos="11000">
                <a:schemeClr val="accent2"/>
              </a:gs>
              <a:gs pos="100000">
                <a:schemeClr val="accent5"/>
              </a:gs>
            </a:gsLst>
            <a:lin ang="2700000" scaled="1"/>
            <a:tileRect/>
          </a:gradFill>
        </p:grpSpPr>
        <p:sp>
          <p:nvSpPr>
            <p:cNvPr id="10" name="Rectangle 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8698" y="2462026"/>
            <a:ext cx="4712557" cy="766763"/>
          </a:xfrm>
        </p:spPr>
        <p:txBody>
          <a:bodyPr vert="horz" lIns="82296" tIns="45720" rIns="82296" bIns="4572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-2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tx2">
                        <a:lumMod val="75000"/>
                      </a:schemeClr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5540384" y="1438276"/>
            <a:ext cx="2676525" cy="2166938"/>
          </a:xfrm>
        </p:spPr>
        <p:txBody>
          <a:bodyPr anchor="ctr" anchorCtr="1"/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90798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/>
        </p:nvSpPr>
        <p:spPr>
          <a:xfrm>
            <a:off x="-12700" y="4606295"/>
            <a:ext cx="9156700" cy="537209"/>
          </a:xfrm>
          <a:prstGeom prst="rect">
            <a:avLst/>
          </a:prstGeom>
          <a:solidFill>
            <a:srgbClr val="08252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7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6700" cy="5143500"/>
          </a:xfrm>
          <a:prstGeom prst="rect">
            <a:avLst/>
          </a:prstGeom>
          <a:noFill/>
        </p:spPr>
      </p:pic>
      <p:sp>
        <p:nvSpPr>
          <p:cNvPr id="9" name="Rounded Rectangle 8"/>
          <p:cNvSpPr/>
          <p:nvPr userDrawn="1"/>
        </p:nvSpPr>
        <p:spPr>
          <a:xfrm>
            <a:off x="1823499" y="-2683566"/>
            <a:ext cx="1729740" cy="1051063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0" name="Rounded Rectangle 9"/>
          <p:cNvSpPr/>
          <p:nvPr userDrawn="1"/>
        </p:nvSpPr>
        <p:spPr>
          <a:xfrm>
            <a:off x="0" y="-483912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1" name="Rounded Rectangle 10"/>
          <p:cNvSpPr/>
          <p:nvPr userDrawn="1"/>
        </p:nvSpPr>
        <p:spPr>
          <a:xfrm rot="10800000">
            <a:off x="1013791" y="-483912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6375620" y="1283394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8105451" y="626169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ounded Rectangle 13"/>
          <p:cNvSpPr/>
          <p:nvPr/>
        </p:nvSpPr>
        <p:spPr>
          <a:xfrm rot="10800000">
            <a:off x="3036073" y="-2533236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363475"/>
            <a:ext cx="8755128" cy="3279098"/>
          </a:xfrm>
        </p:spPr>
        <p:txBody>
          <a:bodyPr anchor="b" anchorCtr="0"/>
          <a:lstStyle>
            <a:lvl1pPr marL="174625" indent="-174625">
              <a:buFont typeface="Arial" pitchFamily="34" charset="0"/>
              <a:buChar char="“"/>
              <a:defRPr sz="5400" spc="-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8" name="Rectangle 5"/>
          <p:cNvSpPr>
            <a:spLocks noChangeArrowheads="1"/>
          </p:cNvSpPr>
          <p:nvPr/>
        </p:nvSpPr>
        <p:spPr bwMode="ltGray">
          <a:xfrm>
            <a:off x="7762668" y="4894575"/>
            <a:ext cx="8129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prstClr val="white"/>
                </a:solidFill>
                <a:latin typeface="Arial"/>
              </a:rPr>
              <a:t>Cisco Confidential</a:t>
            </a: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ltGray">
          <a:xfrm>
            <a:off x="8649172" y="4891497"/>
            <a:ext cx="2607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prstClr val="white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7762668" y="4894575"/>
            <a:ext cx="8129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prstClr val="white"/>
                </a:solidFill>
                <a:latin typeface="Arial"/>
              </a:rPr>
              <a:t>Cisco Confidential</a:t>
            </a:r>
          </a:p>
        </p:txBody>
      </p:sp>
      <p:sp>
        <p:nvSpPr>
          <p:cNvPr id="20" name="Rectangle 7"/>
          <p:cNvSpPr>
            <a:spLocks noChangeArrowheads="1"/>
          </p:cNvSpPr>
          <p:nvPr userDrawn="1"/>
        </p:nvSpPr>
        <p:spPr bwMode="ltGray">
          <a:xfrm>
            <a:off x="8649172" y="4891497"/>
            <a:ext cx="2607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prstClr val="white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9775" y="4019179"/>
            <a:ext cx="8574685" cy="460772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ource</a:t>
            </a:r>
            <a:endParaRPr lang="en-US" dirty="0"/>
          </a:p>
        </p:txBody>
      </p:sp>
      <p:sp>
        <p:nvSpPr>
          <p:cNvPr id="21" name="Rectangle 4"/>
          <p:cNvSpPr>
            <a:spLocks noChangeArrowheads="1"/>
          </p:cNvSpPr>
          <p:nvPr userDrawn="1"/>
        </p:nvSpPr>
        <p:spPr bwMode="ltGray">
          <a:xfrm>
            <a:off x="251382" y="4895875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0429961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2" grpId="0"/>
      <p:bldP spid="7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29" name="Rectangle 28"/>
          <p:cNvSpPr/>
          <p:nvPr/>
        </p:nvSpPr>
        <p:spPr>
          <a:xfrm>
            <a:off x="1891875" y="596646"/>
            <a:ext cx="5349240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891874" y="3595766"/>
            <a:ext cx="5347552" cy="7472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900238" y="596646"/>
            <a:ext cx="5329238" cy="300380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503010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/>
        </p:nvSpPr>
        <p:spPr bwMode="ltGray">
          <a:xfrm>
            <a:off x="7789664" y="4894571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251376" y="4895872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ltGray">
          <a:xfrm>
            <a:off x="8640522" y="4891493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840078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32" name="Rectangle 31"/>
          <p:cNvSpPr/>
          <p:nvPr/>
        </p:nvSpPr>
        <p:spPr>
          <a:xfrm>
            <a:off x="338328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38328" y="233172"/>
            <a:ext cx="3273552" cy="184480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29703" y="2571750"/>
            <a:ext cx="7009298" cy="1449628"/>
          </a:xfrm>
        </p:spPr>
        <p:txBody>
          <a:bodyPr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Large photo </a:t>
            </a:r>
            <a:br>
              <a:rPr lang="en-US" dirty="0" smtClean="0"/>
            </a:br>
            <a:r>
              <a:rPr lang="en-US" dirty="0" smtClean="0"/>
              <a:t>caption here.</a:t>
            </a:r>
          </a:p>
        </p:txBody>
      </p:sp>
    </p:spTree>
    <p:extLst>
      <p:ext uri="{BB962C8B-B14F-4D97-AF65-F5344CB8AC3E}">
        <p14:creationId xmlns:p14="http://schemas.microsoft.com/office/powerpoint/2010/main" val="918304471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40" name="Rectangle 39"/>
          <p:cNvSpPr/>
          <p:nvPr/>
        </p:nvSpPr>
        <p:spPr>
          <a:xfrm>
            <a:off x="4992624" y="644652"/>
            <a:ext cx="3630168" cy="3771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992624" y="644652"/>
            <a:ext cx="3630168" cy="37719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546729"/>
            <a:ext cx="4349918" cy="997196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92312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48" name="Rectangle 47"/>
          <p:cNvSpPr/>
          <p:nvPr/>
        </p:nvSpPr>
        <p:spPr>
          <a:xfrm>
            <a:off x="3668713" y="233363"/>
            <a:ext cx="3268136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668998" y="233363"/>
            <a:ext cx="3267861" cy="1995489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334963" y="233363"/>
            <a:ext cx="3258612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20833" y="233363"/>
            <a:ext cx="3272751" cy="1995489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7011988" y="233363"/>
            <a:ext cx="1806574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7011997" y="233363"/>
            <a:ext cx="1806573" cy="98107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2" name="Rectangle 51"/>
          <p:cNvSpPr/>
          <p:nvPr/>
        </p:nvSpPr>
        <p:spPr>
          <a:xfrm>
            <a:off x="334972" y="2271717"/>
            <a:ext cx="2501965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320824" y="2271717"/>
            <a:ext cx="2516104" cy="25942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4" name="Rectangle 53"/>
          <p:cNvSpPr/>
          <p:nvPr/>
        </p:nvSpPr>
        <p:spPr>
          <a:xfrm>
            <a:off x="2911476" y="2271717"/>
            <a:ext cx="4025374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2908334" y="2271717"/>
            <a:ext cx="4028516" cy="25942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7011988" y="1262747"/>
            <a:ext cx="1806574" cy="258161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7011997" y="1257301"/>
            <a:ext cx="1806573" cy="2587058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7011988" y="3887220"/>
            <a:ext cx="1806574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7011997" y="3887220"/>
            <a:ext cx="1806573" cy="97869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29943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38328" y="233176"/>
            <a:ext cx="8476488" cy="455654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333384" y="233176"/>
            <a:ext cx="8474869" cy="4540639"/>
          </a:xfrm>
          <a:ln>
            <a:solidFill>
              <a:schemeClr val="bg2"/>
            </a:solidFill>
          </a:ln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Photo placeholder</a:t>
            </a:r>
            <a:endParaRPr lang="en-US" dirty="0"/>
          </a:p>
        </p:txBody>
      </p:sp>
      <p:pic>
        <p:nvPicPr>
          <p:cNvPr id="3" name="Picture 2" descr="bottom ba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375" y="4781146"/>
            <a:ext cx="8477250" cy="128588"/>
          </a:xfrm>
          <a:prstGeom prst="rect">
            <a:avLst/>
          </a:prstGeom>
        </p:spPr>
      </p:pic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7789670" y="4894574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8650072" y="4891496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51382" y="4895875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115612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-91440" y="-68580"/>
            <a:ext cx="9326880" cy="5280660"/>
          </a:xfrm>
        </p:spPr>
        <p:txBody>
          <a:bodyPr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Full bleed image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8359441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22" name="Rectangle 2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3" cstate="email">
              <a:alphaModFix amt="29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2" name="Group 3"/>
          <p:cNvGrpSpPr/>
          <p:nvPr userDrawn="1"/>
        </p:nvGrpSpPr>
        <p:grpSpPr>
          <a:xfrm>
            <a:off x="341323" y="4593435"/>
            <a:ext cx="787133" cy="312101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40" name="Rectangle 3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3" name="Freeform 4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21" name="Media Placeholder 20"/>
          <p:cNvSpPr>
            <a:spLocks noGrp="1"/>
          </p:cNvSpPr>
          <p:nvPr>
            <p:ph type="media" sz="quarter" idx="10" hasCustomPrompt="1"/>
          </p:nvPr>
        </p:nvSpPr>
        <p:spPr>
          <a:xfrm>
            <a:off x="2845150" y="584002"/>
            <a:ext cx="5971032" cy="3319272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vide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24585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7602773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7789670" y="4894574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50072" y="4891496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251382" y="4895875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03200" y="4676777"/>
            <a:ext cx="8686800" cy="4667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3690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266700" y="4695825"/>
            <a:ext cx="8597900" cy="247650"/>
          </a:xfrm>
          <a:prstGeom prst="rect">
            <a:avLst/>
          </a:prstGeom>
          <a:solidFill>
            <a:srgbClr val="08252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6700" cy="5143500"/>
          </a:xfrm>
          <a:prstGeom prst="rect">
            <a:avLst/>
          </a:prstGeom>
          <a:noFill/>
        </p:spPr>
      </p:pic>
      <p:sp>
        <p:nvSpPr>
          <p:cNvPr id="20" name="Rectangle 19"/>
          <p:cNvSpPr>
            <a:spLocks noChangeArrowheads="1"/>
          </p:cNvSpPr>
          <p:nvPr/>
        </p:nvSpPr>
        <p:spPr bwMode="black">
          <a:xfrm>
            <a:off x="4373711" y="4383413"/>
            <a:ext cx="41443" cy="1177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1" name="Freeform 20"/>
          <p:cNvSpPr>
            <a:spLocks/>
          </p:cNvSpPr>
          <p:nvPr/>
        </p:nvSpPr>
        <p:spPr bwMode="black">
          <a:xfrm>
            <a:off x="4615139" y="4380152"/>
            <a:ext cx="119991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2" name="Freeform 21"/>
          <p:cNvSpPr>
            <a:spLocks/>
          </p:cNvSpPr>
          <p:nvPr/>
        </p:nvSpPr>
        <p:spPr bwMode="black">
          <a:xfrm>
            <a:off x="4200230" y="4380152"/>
            <a:ext cx="119991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3" name="Freeform 22"/>
          <p:cNvSpPr>
            <a:spLocks noEditPoints="1"/>
          </p:cNvSpPr>
          <p:nvPr userDrawn="1"/>
        </p:nvSpPr>
        <p:spPr bwMode="black">
          <a:xfrm>
            <a:off x="4778500" y="4380152"/>
            <a:ext cx="164807" cy="124284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4" name="Freeform 23"/>
          <p:cNvSpPr>
            <a:spLocks/>
          </p:cNvSpPr>
          <p:nvPr/>
        </p:nvSpPr>
        <p:spPr bwMode="black">
          <a:xfrm>
            <a:off x="4468634" y="4380152"/>
            <a:ext cx="107462" cy="124284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5" name="Freeform 24"/>
          <p:cNvSpPr>
            <a:spLocks/>
          </p:cNvSpPr>
          <p:nvPr/>
        </p:nvSpPr>
        <p:spPr bwMode="black">
          <a:xfrm>
            <a:off x="4117826" y="4240648"/>
            <a:ext cx="39033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6" name="Freeform 25"/>
          <p:cNvSpPr>
            <a:spLocks/>
          </p:cNvSpPr>
          <p:nvPr/>
        </p:nvSpPr>
        <p:spPr bwMode="black">
          <a:xfrm>
            <a:off x="4227215" y="4200066"/>
            <a:ext cx="39033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7" name="Freeform 26"/>
          <p:cNvSpPr>
            <a:spLocks/>
          </p:cNvSpPr>
          <p:nvPr/>
        </p:nvSpPr>
        <p:spPr bwMode="black">
          <a:xfrm>
            <a:off x="4334678" y="4144270"/>
            <a:ext cx="39033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8" name="Freeform 27"/>
          <p:cNvSpPr>
            <a:spLocks/>
          </p:cNvSpPr>
          <p:nvPr/>
        </p:nvSpPr>
        <p:spPr bwMode="black">
          <a:xfrm>
            <a:off x="4444067" y="4200066"/>
            <a:ext cx="39033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black">
          <a:xfrm>
            <a:off x="4551047" y="4240648"/>
            <a:ext cx="41443" cy="6051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0" name="Freeform 29"/>
          <p:cNvSpPr>
            <a:spLocks/>
          </p:cNvSpPr>
          <p:nvPr/>
        </p:nvSpPr>
        <p:spPr bwMode="black">
          <a:xfrm>
            <a:off x="4660437" y="4200066"/>
            <a:ext cx="39515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1" name="Freeform 30"/>
          <p:cNvSpPr>
            <a:spLocks/>
          </p:cNvSpPr>
          <p:nvPr/>
        </p:nvSpPr>
        <p:spPr bwMode="black">
          <a:xfrm>
            <a:off x="4769827" y="4144270"/>
            <a:ext cx="39515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2" name="Freeform 31"/>
          <p:cNvSpPr>
            <a:spLocks/>
          </p:cNvSpPr>
          <p:nvPr/>
        </p:nvSpPr>
        <p:spPr bwMode="black">
          <a:xfrm>
            <a:off x="4877288" y="4200066"/>
            <a:ext cx="39515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3" name="Freeform 32"/>
          <p:cNvSpPr>
            <a:spLocks/>
          </p:cNvSpPr>
          <p:nvPr/>
        </p:nvSpPr>
        <p:spPr bwMode="black">
          <a:xfrm>
            <a:off x="4986678" y="4240648"/>
            <a:ext cx="39515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925218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4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</p:bld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266700" y="4695825"/>
            <a:ext cx="8597900" cy="247650"/>
          </a:xfrm>
          <a:prstGeom prst="rect">
            <a:avLst/>
          </a:prstGeom>
          <a:solidFill>
            <a:srgbClr val="08252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6700" cy="5143500"/>
          </a:xfrm>
          <a:prstGeom prst="rect">
            <a:avLst/>
          </a:prstGeom>
          <a:noFill/>
        </p:spPr>
      </p:pic>
      <p:sp>
        <p:nvSpPr>
          <p:cNvPr id="20" name="Rectangle 19"/>
          <p:cNvSpPr>
            <a:spLocks noChangeArrowheads="1"/>
          </p:cNvSpPr>
          <p:nvPr userDrawn="1"/>
        </p:nvSpPr>
        <p:spPr bwMode="black">
          <a:xfrm>
            <a:off x="6312989" y="2781454"/>
            <a:ext cx="116616" cy="33137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1" name="Freeform 20"/>
          <p:cNvSpPr>
            <a:spLocks/>
          </p:cNvSpPr>
          <p:nvPr/>
        </p:nvSpPr>
        <p:spPr bwMode="black">
          <a:xfrm>
            <a:off x="6992342" y="2773205"/>
            <a:ext cx="337642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2" name="Freeform 21"/>
          <p:cNvSpPr>
            <a:spLocks/>
          </p:cNvSpPr>
          <p:nvPr/>
        </p:nvSpPr>
        <p:spPr bwMode="black">
          <a:xfrm>
            <a:off x="5824831" y="2773205"/>
            <a:ext cx="337642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3" name="Freeform 22"/>
          <p:cNvSpPr>
            <a:spLocks noEditPoints="1"/>
          </p:cNvSpPr>
          <p:nvPr/>
        </p:nvSpPr>
        <p:spPr bwMode="black">
          <a:xfrm>
            <a:off x="7452023" y="2773205"/>
            <a:ext cx="463750" cy="349723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4" name="Freeform 23"/>
          <p:cNvSpPr>
            <a:spLocks/>
          </p:cNvSpPr>
          <p:nvPr/>
        </p:nvSpPr>
        <p:spPr bwMode="black">
          <a:xfrm>
            <a:off x="6580120" y="2773205"/>
            <a:ext cx="302387" cy="349723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5" name="Freeform 24"/>
          <p:cNvSpPr>
            <a:spLocks/>
          </p:cNvSpPr>
          <p:nvPr/>
        </p:nvSpPr>
        <p:spPr bwMode="black">
          <a:xfrm>
            <a:off x="5592964" y="2311830"/>
            <a:ext cx="109835" cy="170274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6" name="Freeform 25"/>
          <p:cNvSpPr>
            <a:spLocks/>
          </p:cNvSpPr>
          <p:nvPr/>
        </p:nvSpPr>
        <p:spPr bwMode="black">
          <a:xfrm>
            <a:off x="5900767" y="2197636"/>
            <a:ext cx="109835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7" name="Freeform 26"/>
          <p:cNvSpPr>
            <a:spLocks/>
          </p:cNvSpPr>
          <p:nvPr/>
        </p:nvSpPr>
        <p:spPr bwMode="black">
          <a:xfrm>
            <a:off x="6203163" y="2040621"/>
            <a:ext cx="109835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8" name="Freeform 27"/>
          <p:cNvSpPr>
            <a:spLocks/>
          </p:cNvSpPr>
          <p:nvPr/>
        </p:nvSpPr>
        <p:spPr bwMode="black">
          <a:xfrm>
            <a:off x="6510969" y="2197637"/>
            <a:ext cx="109835" cy="28446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black">
          <a:xfrm>
            <a:off x="6811994" y="2311835"/>
            <a:ext cx="116616" cy="17027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0" name="Freeform 29"/>
          <p:cNvSpPr>
            <a:spLocks/>
          </p:cNvSpPr>
          <p:nvPr/>
        </p:nvSpPr>
        <p:spPr bwMode="black">
          <a:xfrm>
            <a:off x="7119815" y="2197636"/>
            <a:ext cx="111191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1" name="Freeform 30"/>
          <p:cNvSpPr>
            <a:spLocks/>
          </p:cNvSpPr>
          <p:nvPr/>
        </p:nvSpPr>
        <p:spPr bwMode="black">
          <a:xfrm>
            <a:off x="7427627" y="2040621"/>
            <a:ext cx="111191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2" name="Freeform 31"/>
          <p:cNvSpPr>
            <a:spLocks/>
          </p:cNvSpPr>
          <p:nvPr/>
        </p:nvSpPr>
        <p:spPr bwMode="black">
          <a:xfrm>
            <a:off x="7730011" y="2197636"/>
            <a:ext cx="111191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3" name="Freeform 32"/>
          <p:cNvSpPr>
            <a:spLocks/>
          </p:cNvSpPr>
          <p:nvPr/>
        </p:nvSpPr>
        <p:spPr bwMode="black">
          <a:xfrm>
            <a:off x="8037822" y="2311835"/>
            <a:ext cx="111191" cy="17027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644691" y="2295371"/>
            <a:ext cx="24686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3600" dirty="0" smtClean="0">
                <a:solidFill>
                  <a:srgbClr val="FFFFFF"/>
                </a:solidFill>
                <a:latin typeface="Arial"/>
              </a:rPr>
              <a:t>Thank you.</a:t>
            </a:r>
            <a:endParaRPr lang="en-US" sz="36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7417801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200"/>
                            </p:stCondLst>
                            <p:childTnLst>
                              <p:par>
                                <p:cTn id="13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5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7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9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  <p:bldP spid="34" grpId="0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Same Side Corner Rectangle 2"/>
          <p:cNvSpPr/>
          <p:nvPr userDrawn="1"/>
        </p:nvSpPr>
        <p:spPr>
          <a:xfrm rot="10800000" flipV="1">
            <a:off x="1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angle 4"/>
          <p:cNvSpPr>
            <a:spLocks noChangeArrowheads="1"/>
          </p:cNvSpPr>
          <p:nvPr userDrawn="1"/>
        </p:nvSpPr>
        <p:spPr bwMode="ltGray">
          <a:xfrm>
            <a:off x="251376" y="4931497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5" name="Rectangle 5"/>
          <p:cNvSpPr>
            <a:spLocks noChangeArrowheads="1"/>
          </p:cNvSpPr>
          <p:nvPr userDrawn="1"/>
        </p:nvSpPr>
        <p:spPr bwMode="ltGray">
          <a:xfrm>
            <a:off x="7789664" y="4930196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ltGray">
          <a:xfrm>
            <a:off x="8640522" y="4927118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6644122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Complex_Gradient7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Rectangle 3"/>
          <p:cNvSpPr>
            <a:spLocks noChangeArrowheads="1"/>
          </p:cNvSpPr>
          <p:nvPr/>
        </p:nvSpPr>
        <p:spPr bwMode="black">
          <a:xfrm>
            <a:off x="4373711" y="4383413"/>
            <a:ext cx="41443" cy="1177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black">
          <a:xfrm>
            <a:off x="4615139" y="4380152"/>
            <a:ext cx="119991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6" name="Freeform 5"/>
          <p:cNvSpPr>
            <a:spLocks/>
          </p:cNvSpPr>
          <p:nvPr/>
        </p:nvSpPr>
        <p:spPr bwMode="black">
          <a:xfrm>
            <a:off x="4200230" y="4380152"/>
            <a:ext cx="119991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7" name="Freeform 6"/>
          <p:cNvSpPr>
            <a:spLocks noEditPoints="1"/>
          </p:cNvSpPr>
          <p:nvPr userDrawn="1"/>
        </p:nvSpPr>
        <p:spPr bwMode="black">
          <a:xfrm>
            <a:off x="4778500" y="4380152"/>
            <a:ext cx="164807" cy="124284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black">
          <a:xfrm>
            <a:off x="4468634" y="4380152"/>
            <a:ext cx="107462" cy="124284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black">
          <a:xfrm>
            <a:off x="4117826" y="4240648"/>
            <a:ext cx="39033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10" name="Freeform 9"/>
          <p:cNvSpPr>
            <a:spLocks/>
          </p:cNvSpPr>
          <p:nvPr/>
        </p:nvSpPr>
        <p:spPr bwMode="black">
          <a:xfrm>
            <a:off x="4227215" y="4200066"/>
            <a:ext cx="39033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black">
          <a:xfrm>
            <a:off x="4334678" y="4144270"/>
            <a:ext cx="39033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12" name="Freeform 11"/>
          <p:cNvSpPr>
            <a:spLocks/>
          </p:cNvSpPr>
          <p:nvPr/>
        </p:nvSpPr>
        <p:spPr bwMode="black">
          <a:xfrm>
            <a:off x="4444067" y="4200066"/>
            <a:ext cx="39033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14" name="Freeform 13"/>
          <p:cNvSpPr>
            <a:spLocks/>
          </p:cNvSpPr>
          <p:nvPr/>
        </p:nvSpPr>
        <p:spPr bwMode="black">
          <a:xfrm>
            <a:off x="4551047" y="4240648"/>
            <a:ext cx="41443" cy="6051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15" name="Freeform 14"/>
          <p:cNvSpPr>
            <a:spLocks/>
          </p:cNvSpPr>
          <p:nvPr/>
        </p:nvSpPr>
        <p:spPr bwMode="black">
          <a:xfrm>
            <a:off x="4660437" y="4200066"/>
            <a:ext cx="39515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16" name="Freeform 15"/>
          <p:cNvSpPr>
            <a:spLocks/>
          </p:cNvSpPr>
          <p:nvPr/>
        </p:nvSpPr>
        <p:spPr bwMode="black">
          <a:xfrm>
            <a:off x="4769827" y="4144270"/>
            <a:ext cx="39515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black">
          <a:xfrm>
            <a:off x="4877288" y="4200066"/>
            <a:ext cx="39515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18" name="Freeform 17"/>
          <p:cNvSpPr>
            <a:spLocks/>
          </p:cNvSpPr>
          <p:nvPr/>
        </p:nvSpPr>
        <p:spPr bwMode="black">
          <a:xfrm>
            <a:off x="4986678" y="4240648"/>
            <a:ext cx="39515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7497990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4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</p:bld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Complex_Gradient7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4" name="TextBox 33"/>
          <p:cNvSpPr txBox="1"/>
          <p:nvPr userDrawn="1"/>
        </p:nvSpPr>
        <p:spPr>
          <a:xfrm>
            <a:off x="644691" y="2295371"/>
            <a:ext cx="24686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3600" dirty="0" smtClean="0">
                <a:solidFill>
                  <a:srgbClr val="FFFFFF"/>
                </a:solidFill>
                <a:latin typeface="Arial"/>
              </a:rPr>
              <a:t>Thank you.</a:t>
            </a:r>
            <a:endParaRPr lang="en-US" sz="3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black">
          <a:xfrm>
            <a:off x="6312989" y="2781454"/>
            <a:ext cx="116616" cy="33137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5" name="Freeform 34"/>
          <p:cNvSpPr>
            <a:spLocks/>
          </p:cNvSpPr>
          <p:nvPr/>
        </p:nvSpPr>
        <p:spPr bwMode="black">
          <a:xfrm>
            <a:off x="6992342" y="2773205"/>
            <a:ext cx="337642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6" name="Freeform 35"/>
          <p:cNvSpPr>
            <a:spLocks/>
          </p:cNvSpPr>
          <p:nvPr userDrawn="1"/>
        </p:nvSpPr>
        <p:spPr bwMode="black">
          <a:xfrm>
            <a:off x="5824831" y="2773205"/>
            <a:ext cx="337642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 noEditPoints="1"/>
          </p:cNvSpPr>
          <p:nvPr/>
        </p:nvSpPr>
        <p:spPr bwMode="black">
          <a:xfrm>
            <a:off x="7452023" y="2773205"/>
            <a:ext cx="463750" cy="349723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/>
          </p:cNvSpPr>
          <p:nvPr/>
        </p:nvSpPr>
        <p:spPr bwMode="black">
          <a:xfrm>
            <a:off x="6580120" y="2773205"/>
            <a:ext cx="302387" cy="349723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/>
          </p:cNvSpPr>
          <p:nvPr/>
        </p:nvSpPr>
        <p:spPr bwMode="black">
          <a:xfrm>
            <a:off x="5592964" y="2311830"/>
            <a:ext cx="109835" cy="170274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/>
        </p:nvSpPr>
        <p:spPr bwMode="black">
          <a:xfrm>
            <a:off x="5900767" y="2197636"/>
            <a:ext cx="109835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/>
        </p:nvSpPr>
        <p:spPr bwMode="black">
          <a:xfrm>
            <a:off x="6203163" y="2040621"/>
            <a:ext cx="109835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/>
        </p:nvSpPr>
        <p:spPr bwMode="black">
          <a:xfrm>
            <a:off x="6510969" y="2197637"/>
            <a:ext cx="109835" cy="28446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/>
        </p:nvSpPr>
        <p:spPr bwMode="black">
          <a:xfrm>
            <a:off x="6811994" y="2311835"/>
            <a:ext cx="116616" cy="17027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/>
        </p:nvSpPr>
        <p:spPr bwMode="black">
          <a:xfrm>
            <a:off x="7119815" y="2197636"/>
            <a:ext cx="111191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/>
        </p:nvSpPr>
        <p:spPr bwMode="black">
          <a:xfrm>
            <a:off x="7427627" y="2040621"/>
            <a:ext cx="111191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6" name="Freeform 45"/>
          <p:cNvSpPr>
            <a:spLocks/>
          </p:cNvSpPr>
          <p:nvPr/>
        </p:nvSpPr>
        <p:spPr bwMode="black">
          <a:xfrm>
            <a:off x="7730011" y="2197636"/>
            <a:ext cx="111191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Freeform 46"/>
          <p:cNvSpPr>
            <a:spLocks/>
          </p:cNvSpPr>
          <p:nvPr/>
        </p:nvSpPr>
        <p:spPr bwMode="black">
          <a:xfrm>
            <a:off x="8037822" y="2311835"/>
            <a:ext cx="111191" cy="17027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9913976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200"/>
                            </p:stCondLst>
                            <p:childTnLst>
                              <p:par>
                                <p:cTn id="13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5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7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9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7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36" grpId="0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</p:bld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978" name="Rectangle 2"/>
          <p:cNvSpPr>
            <a:spLocks noChangeArrowheads="1"/>
          </p:cNvSpPr>
          <p:nvPr/>
        </p:nvSpPr>
        <p:spPr bwMode="auto">
          <a:xfrm>
            <a:off x="0" y="2070325"/>
            <a:ext cx="9144000" cy="359923"/>
          </a:xfrm>
          <a:prstGeom prst="rect">
            <a:avLst/>
          </a:prstGeom>
          <a:solidFill>
            <a:srgbClr val="015F85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82124" tIns="41061" rIns="82124" bIns="41061" anchor="ctr">
            <a:spAutoFit/>
          </a:bodyPr>
          <a:lstStyle/>
          <a:p>
            <a:pPr defTabSz="914400"/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022979" name="Rectangle 3"/>
          <p:cNvSpPr>
            <a:spLocks noChangeArrowheads="1"/>
          </p:cNvSpPr>
          <p:nvPr/>
        </p:nvSpPr>
        <p:spPr bwMode="auto">
          <a:xfrm>
            <a:off x="1150947" y="4955236"/>
            <a:ext cx="2038159" cy="19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/>
            <a:r>
              <a:rPr lang="en-US" sz="700" dirty="0">
                <a:solidFill>
                  <a:srgbClr val="D3D3D3"/>
                </a:solidFill>
                <a:latin typeface="Arial"/>
              </a:rPr>
              <a:t>© </a:t>
            </a:r>
            <a:r>
              <a:rPr lang="en-US" sz="700" dirty="0" smtClean="0">
                <a:solidFill>
                  <a:srgbClr val="D3D3D3"/>
                </a:solidFill>
                <a:latin typeface="Arial"/>
              </a:rPr>
              <a:t>2009 Cisco </a:t>
            </a:r>
            <a:r>
              <a:rPr lang="en-US" sz="700" dirty="0">
                <a:solidFill>
                  <a:srgbClr val="D3D3D3"/>
                </a:solidFill>
                <a:latin typeface="Arial"/>
              </a:rPr>
              <a:t>Systems, Inc. All rights reserved.</a:t>
            </a:r>
          </a:p>
        </p:txBody>
      </p:sp>
      <p:sp>
        <p:nvSpPr>
          <p:cNvPr id="1022980" name="Rectangle 4"/>
          <p:cNvSpPr>
            <a:spLocks noChangeArrowheads="1"/>
          </p:cNvSpPr>
          <p:nvPr/>
        </p:nvSpPr>
        <p:spPr bwMode="auto">
          <a:xfrm>
            <a:off x="3161958" y="4955236"/>
            <a:ext cx="889345" cy="19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700" dirty="0">
                <a:solidFill>
                  <a:srgbClr val="D3D3D3"/>
                </a:solidFill>
                <a:latin typeface="Arial"/>
              </a:rPr>
              <a:t>Cisco Confidential</a:t>
            </a:r>
          </a:p>
        </p:txBody>
      </p:sp>
      <p:sp>
        <p:nvSpPr>
          <p:cNvPr id="1022981" name="Rectangle 5"/>
          <p:cNvSpPr>
            <a:spLocks noChangeArrowheads="1"/>
          </p:cNvSpPr>
          <p:nvPr/>
        </p:nvSpPr>
        <p:spPr bwMode="auto">
          <a:xfrm>
            <a:off x="8594414" y="4909070"/>
            <a:ext cx="322583" cy="236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0B12141D-B3EB-4C36-B24A-48D9037DBB26}" type="slidenum">
              <a:rPr lang="en-US" sz="1000">
                <a:solidFill>
                  <a:srgbClr val="D3D3D3"/>
                </a:solidFill>
                <a:latin typeface="Arial"/>
              </a:rPr>
              <a:pPr algn="r" defTabSz="814388"/>
              <a:t>‹#›</a:t>
            </a:fld>
            <a:endParaRPr lang="en-US" sz="1000" dirty="0">
              <a:solidFill>
                <a:srgbClr val="D3D3D3"/>
              </a:solidFill>
              <a:latin typeface="Arial"/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09600" y="394102"/>
            <a:ext cx="1447800" cy="577453"/>
            <a:chOff x="3272" y="1316"/>
            <a:chExt cx="1889" cy="1002"/>
          </a:xfrm>
        </p:grpSpPr>
        <p:sp>
          <p:nvSpPr>
            <p:cNvPr id="1022983" name="AutoShape 7"/>
            <p:cNvSpPr>
              <a:spLocks noChangeAspect="1" noChangeArrowheads="1" noTextEdit="1"/>
            </p:cNvSpPr>
            <p:nvPr/>
          </p:nvSpPr>
          <p:spPr bwMode="auto">
            <a:xfrm>
              <a:off x="3272" y="1316"/>
              <a:ext cx="1889" cy="10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84" name="Rectangle 8"/>
            <p:cNvSpPr>
              <a:spLocks noChangeArrowheads="1"/>
            </p:cNvSpPr>
            <p:nvPr/>
          </p:nvSpPr>
          <p:spPr bwMode="auto">
            <a:xfrm>
              <a:off x="3803" y="1980"/>
              <a:ext cx="86" cy="325"/>
            </a:xfrm>
            <a:prstGeom prst="rect">
              <a:avLst/>
            </a:prstGeom>
            <a:solidFill>
              <a:srgbClr val="B21A1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85" name="Freeform 9"/>
            <p:cNvSpPr>
              <a:spLocks/>
            </p:cNvSpPr>
            <p:nvPr/>
          </p:nvSpPr>
          <p:spPr bwMode="auto">
            <a:xfrm>
              <a:off x="4304" y="1971"/>
              <a:ext cx="249" cy="343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B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86" name="Freeform 10"/>
            <p:cNvSpPr>
              <a:spLocks/>
            </p:cNvSpPr>
            <p:nvPr/>
          </p:nvSpPr>
          <p:spPr bwMode="auto">
            <a:xfrm>
              <a:off x="3443" y="1971"/>
              <a:ext cx="249" cy="343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B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87" name="Freeform 11"/>
            <p:cNvSpPr>
              <a:spLocks noEditPoints="1"/>
            </p:cNvSpPr>
            <p:nvPr/>
          </p:nvSpPr>
          <p:spPr bwMode="auto">
            <a:xfrm>
              <a:off x="4643" y="1971"/>
              <a:ext cx="342" cy="343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B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88" name="Freeform 12"/>
            <p:cNvSpPr>
              <a:spLocks/>
            </p:cNvSpPr>
            <p:nvPr/>
          </p:nvSpPr>
          <p:spPr bwMode="auto">
            <a:xfrm>
              <a:off x="4000" y="1971"/>
              <a:ext cx="223" cy="343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B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89" name="Freeform 13"/>
            <p:cNvSpPr>
              <a:spLocks/>
            </p:cNvSpPr>
            <p:nvPr/>
          </p:nvSpPr>
          <p:spPr bwMode="auto">
            <a:xfrm>
              <a:off x="3272" y="1586"/>
              <a:ext cx="81" cy="167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90" name="Freeform 14"/>
            <p:cNvSpPr>
              <a:spLocks/>
            </p:cNvSpPr>
            <p:nvPr/>
          </p:nvSpPr>
          <p:spPr bwMode="auto">
            <a:xfrm>
              <a:off x="3499" y="1474"/>
              <a:ext cx="81" cy="27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91" name="Freeform 15"/>
            <p:cNvSpPr>
              <a:spLocks/>
            </p:cNvSpPr>
            <p:nvPr/>
          </p:nvSpPr>
          <p:spPr bwMode="auto">
            <a:xfrm>
              <a:off x="3722" y="1320"/>
              <a:ext cx="81" cy="51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92" name="Freeform 16"/>
            <p:cNvSpPr>
              <a:spLocks/>
            </p:cNvSpPr>
            <p:nvPr/>
          </p:nvSpPr>
          <p:spPr bwMode="auto">
            <a:xfrm>
              <a:off x="3949" y="1474"/>
              <a:ext cx="81" cy="27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93" name="Freeform 17"/>
            <p:cNvSpPr>
              <a:spLocks/>
            </p:cNvSpPr>
            <p:nvPr/>
          </p:nvSpPr>
          <p:spPr bwMode="auto">
            <a:xfrm>
              <a:off x="4171" y="1586"/>
              <a:ext cx="86" cy="167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94" name="Freeform 18"/>
            <p:cNvSpPr>
              <a:spLocks/>
            </p:cNvSpPr>
            <p:nvPr/>
          </p:nvSpPr>
          <p:spPr bwMode="auto">
            <a:xfrm>
              <a:off x="4398" y="1474"/>
              <a:ext cx="82" cy="27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95" name="Freeform 19"/>
            <p:cNvSpPr>
              <a:spLocks/>
            </p:cNvSpPr>
            <p:nvPr/>
          </p:nvSpPr>
          <p:spPr bwMode="auto">
            <a:xfrm>
              <a:off x="4625" y="1320"/>
              <a:ext cx="82" cy="51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96" name="Freeform 20"/>
            <p:cNvSpPr>
              <a:spLocks/>
            </p:cNvSpPr>
            <p:nvPr/>
          </p:nvSpPr>
          <p:spPr bwMode="auto">
            <a:xfrm>
              <a:off x="4848" y="1474"/>
              <a:ext cx="82" cy="27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97" name="Freeform 21"/>
            <p:cNvSpPr>
              <a:spLocks/>
            </p:cNvSpPr>
            <p:nvPr/>
          </p:nvSpPr>
          <p:spPr bwMode="auto">
            <a:xfrm>
              <a:off x="5075" y="1586"/>
              <a:ext cx="82" cy="167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1022998" name="Rectangle 22"/>
          <p:cNvSpPr>
            <a:spLocks noGrp="1" noChangeArrowheads="1"/>
          </p:cNvSpPr>
          <p:nvPr>
            <p:ph type="ctrTitle"/>
          </p:nvPr>
        </p:nvSpPr>
        <p:spPr bwMode="white">
          <a:xfrm>
            <a:off x="650884" y="2007398"/>
            <a:ext cx="3768725" cy="622697"/>
          </a:xfrm>
          <a:ln/>
        </p:spPr>
        <p:txBody>
          <a:bodyPr anchor="ctr"/>
          <a:lstStyle>
            <a:lvl1pPr>
              <a:defRPr sz="3000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22999" name="Rectangle 23"/>
          <p:cNvSpPr>
            <a:spLocks noGrp="1" noChangeArrowheads="1"/>
          </p:cNvSpPr>
          <p:nvPr>
            <p:ph type="subTitle" idx="1"/>
          </p:nvPr>
        </p:nvSpPr>
        <p:spPr>
          <a:xfrm>
            <a:off x="650884" y="3550444"/>
            <a:ext cx="7121525" cy="1193006"/>
          </a:xfrm>
          <a:ln/>
        </p:spPr>
        <p:txBody>
          <a:bodyPr/>
          <a:lstStyle>
            <a:lvl1pPr marL="0" indent="0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9582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38" y="228600"/>
            <a:ext cx="8145462" cy="6286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55647" y="1140619"/>
            <a:ext cx="7940675" cy="267890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368839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ChangeArrowheads="1"/>
          </p:cNvSpPr>
          <p:nvPr/>
        </p:nvSpPr>
        <p:spPr bwMode="ltGray">
          <a:xfrm>
            <a:off x="8594414" y="4909070"/>
            <a:ext cx="322583" cy="236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defRPr/>
            </a:pPr>
            <a:fld id="{3938E217-2570-4DBA-9D91-030EC3997E8C}" type="slidenum">
              <a:rPr lang="en-US" sz="1000">
                <a:solidFill>
                  <a:srgbClr val="8E8E95"/>
                </a:solidFill>
                <a:latin typeface="Arial"/>
              </a:rPr>
              <a:pPr algn="r" defTabSz="814388">
                <a:defRPr/>
              </a:pPr>
              <a:t>‹#›</a:t>
            </a:fld>
            <a:endParaRPr lang="en-US" sz="1000" dirty="0">
              <a:solidFill>
                <a:srgbClr val="8E8E95"/>
              </a:solidFill>
              <a:latin typeface="Arial"/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8594414" y="4909070"/>
            <a:ext cx="322583" cy="236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defRPr/>
            </a:pPr>
            <a:fld id="{FD90B7FB-BBAA-46A4-A91D-40A43F601509}" type="slidenum">
              <a:rPr lang="en-US" sz="1000">
                <a:solidFill>
                  <a:srgbClr val="8E8E95"/>
                </a:solidFill>
                <a:latin typeface="Arial"/>
              </a:rPr>
              <a:pPr algn="r" defTabSz="814388">
                <a:defRPr/>
              </a:pPr>
              <a:t>‹#›</a:t>
            </a:fld>
            <a:endParaRPr lang="en-US" sz="1000" dirty="0">
              <a:solidFill>
                <a:srgbClr val="8E8E95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760" y="228600"/>
            <a:ext cx="7435849" cy="6286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93760" y="889907"/>
            <a:ext cx="7435849" cy="285750"/>
          </a:xfrm>
        </p:spPr>
        <p:txBody>
          <a:bodyPr anchor="ctr">
            <a:noAutofit/>
          </a:bodyPr>
          <a:lstStyle>
            <a:lvl1pPr>
              <a:buFontTx/>
              <a:buNone/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793750" y="4702378"/>
            <a:ext cx="7461250" cy="307777"/>
          </a:xfrm>
        </p:spPr>
        <p:txBody>
          <a:bodyPr anchor="b">
            <a:sp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400"/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183018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-animate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ottom bar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375" y="4781146"/>
            <a:ext cx="8477250" cy="128588"/>
          </a:xfrm>
          <a:prstGeom prst="rect">
            <a:avLst/>
          </a:prstGeom>
        </p:spPr>
      </p:pic>
      <p:pic>
        <p:nvPicPr>
          <p:cNvPr id="43" name="Picture 42" descr="bottom bar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375" y="4781146"/>
            <a:ext cx="8477250" cy="128588"/>
          </a:xfrm>
          <a:prstGeom prst="rect">
            <a:avLst/>
          </a:prstGeom>
        </p:spPr>
      </p:pic>
      <p:sp>
        <p:nvSpPr>
          <p:cNvPr id="47" name="Rectangle 46"/>
          <p:cNvSpPr/>
          <p:nvPr/>
        </p:nvSpPr>
        <p:spPr>
          <a:xfrm>
            <a:off x="3405353" y="4461478"/>
            <a:ext cx="599089" cy="8592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460940" y="4461478"/>
            <a:ext cx="472965" cy="859220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771698" y="4461478"/>
            <a:ext cx="472965" cy="859220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/>
        </p:nvSpPr>
        <p:spPr>
          <a:xfrm rot="10800000" flipH="1">
            <a:off x="2856506" y="623454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8" name="Rounded Rectangle 27"/>
          <p:cNvSpPr/>
          <p:nvPr userDrawn="1"/>
        </p:nvSpPr>
        <p:spPr>
          <a:xfrm rot="10800000" flipH="1">
            <a:off x="821966" y="3537585"/>
            <a:ext cx="656314" cy="11306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9" name="Rounded Rectangle 28"/>
          <p:cNvSpPr/>
          <p:nvPr userDrawn="1"/>
        </p:nvSpPr>
        <p:spPr>
          <a:xfrm rot="10800000" flipH="1">
            <a:off x="1332506" y="1485900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>
          <a:xfrm rot="10800000" flipH="1">
            <a:off x="5869870" y="4960620"/>
            <a:ext cx="780312" cy="2489662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 rot="10800000" flipH="1">
            <a:off x="6933206" y="4960620"/>
            <a:ext cx="656314" cy="11306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accent3">
              <a:lumMod val="10000"/>
            </a:schemeClr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34" name="Rounded Rectangle 33"/>
          <p:cNvSpPr/>
          <p:nvPr/>
        </p:nvSpPr>
        <p:spPr>
          <a:xfrm rot="10800000" flipH="1">
            <a:off x="2191487" y="5039588"/>
            <a:ext cx="662549" cy="474829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5" name="Rounded Rectangle 34"/>
          <p:cNvSpPr/>
          <p:nvPr/>
        </p:nvSpPr>
        <p:spPr>
          <a:xfrm rot="10800000" flipH="1">
            <a:off x="2794161" y="5001446"/>
            <a:ext cx="779356" cy="415973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6" name="Rounded Rectangle 35"/>
          <p:cNvSpPr/>
          <p:nvPr/>
        </p:nvSpPr>
        <p:spPr>
          <a:xfrm rot="10800000" flipH="1">
            <a:off x="4920834" y="768927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7" name="Rounded Rectangle 36"/>
          <p:cNvSpPr/>
          <p:nvPr/>
        </p:nvSpPr>
        <p:spPr>
          <a:xfrm rot="10800000" flipH="1">
            <a:off x="5391889" y="1298863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8" name="Rounded Rectangle 37"/>
          <p:cNvSpPr/>
          <p:nvPr userDrawn="1"/>
        </p:nvSpPr>
        <p:spPr>
          <a:xfrm rot="10800000" flipH="1">
            <a:off x="341313" y="5031564"/>
            <a:ext cx="780312" cy="248966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9" name="Rounded Rectangle 38"/>
          <p:cNvSpPr/>
          <p:nvPr/>
        </p:nvSpPr>
        <p:spPr>
          <a:xfrm rot="10800000" flipH="1">
            <a:off x="8038251" y="6238701"/>
            <a:ext cx="780312" cy="2489662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1" name="Rounded Rectangle 40"/>
          <p:cNvSpPr/>
          <p:nvPr/>
        </p:nvSpPr>
        <p:spPr>
          <a:xfrm rot="10800000" flipH="1">
            <a:off x="8162249" y="1298863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2" name="Rounded Rectangle 41"/>
          <p:cNvSpPr/>
          <p:nvPr/>
        </p:nvSpPr>
        <p:spPr>
          <a:xfrm rot="10800000" flipH="1">
            <a:off x="3770906" y="1485900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0" y="1"/>
            <a:ext cx="9129008" cy="4783736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1" y="4903470"/>
            <a:ext cx="9129008" cy="2400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3" name="Rectangle 4"/>
          <p:cNvSpPr>
            <a:spLocks noChangeArrowheads="1"/>
          </p:cNvSpPr>
          <p:nvPr/>
        </p:nvSpPr>
        <p:spPr bwMode="ltGray">
          <a:xfrm>
            <a:off x="251374" y="4895871"/>
            <a:ext cx="19483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4" name="Rectangle 5"/>
          <p:cNvSpPr>
            <a:spLocks noChangeArrowheads="1"/>
          </p:cNvSpPr>
          <p:nvPr/>
        </p:nvSpPr>
        <p:spPr bwMode="ltGray">
          <a:xfrm>
            <a:off x="7789662" y="4894570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5" name="Rectangle 7"/>
          <p:cNvSpPr>
            <a:spLocks noChangeArrowheads="1"/>
          </p:cNvSpPr>
          <p:nvPr/>
        </p:nvSpPr>
        <p:spPr bwMode="ltGray">
          <a:xfrm>
            <a:off x="8650064" y="4891492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1" y="4903470"/>
            <a:ext cx="9129008" cy="2400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02" name="Rectangle 4"/>
          <p:cNvSpPr>
            <a:spLocks noChangeArrowheads="1"/>
          </p:cNvSpPr>
          <p:nvPr/>
        </p:nvSpPr>
        <p:spPr bwMode="ltGray">
          <a:xfrm>
            <a:off x="251374" y="4895871"/>
            <a:ext cx="19483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03" name="Rectangle 5"/>
          <p:cNvSpPr>
            <a:spLocks noChangeArrowheads="1"/>
          </p:cNvSpPr>
          <p:nvPr/>
        </p:nvSpPr>
        <p:spPr bwMode="ltGray">
          <a:xfrm>
            <a:off x="7789662" y="4894570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04" name="Rectangle 7"/>
          <p:cNvSpPr>
            <a:spLocks noChangeArrowheads="1"/>
          </p:cNvSpPr>
          <p:nvPr/>
        </p:nvSpPr>
        <p:spPr bwMode="ltGray">
          <a:xfrm>
            <a:off x="8650064" y="4891492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50"/>
            <a:ext cx="8112126" cy="288131"/>
          </a:xfrm>
        </p:spPr>
        <p:txBody>
          <a:bodyPr>
            <a:normAutofit/>
          </a:bodyPr>
          <a:lstStyle>
            <a:lvl1pPr marL="0" indent="0" algn="l">
              <a:buNone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21394" y="936172"/>
            <a:ext cx="8112125" cy="218042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b="0" kern="1200" spc="-200" baseline="0" dirty="0">
                <a:gradFill flip="none" rotWithShape="1">
                  <a:gsLst>
                    <a:gs pos="0">
                      <a:srgbClr val="55E6ED"/>
                    </a:gs>
                    <a:gs pos="80000">
                      <a:srgbClr val="009249"/>
                    </a:gs>
                  </a:gsLst>
                  <a:lin ang="12000000" scaled="0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109" name="Rectangle 108"/>
          <p:cNvSpPr/>
          <p:nvPr/>
        </p:nvSpPr>
        <p:spPr>
          <a:xfrm>
            <a:off x="1" y="4903470"/>
            <a:ext cx="9129008" cy="2400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10" name="Rectangle 4"/>
          <p:cNvSpPr>
            <a:spLocks noChangeArrowheads="1"/>
          </p:cNvSpPr>
          <p:nvPr/>
        </p:nvSpPr>
        <p:spPr bwMode="ltGray">
          <a:xfrm>
            <a:off x="251374" y="4895871"/>
            <a:ext cx="19483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11" name="Rectangle 5"/>
          <p:cNvSpPr>
            <a:spLocks noChangeArrowheads="1"/>
          </p:cNvSpPr>
          <p:nvPr/>
        </p:nvSpPr>
        <p:spPr bwMode="ltGray">
          <a:xfrm>
            <a:off x="7789662" y="4894570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12" name="Rectangle 7"/>
          <p:cNvSpPr>
            <a:spLocks noChangeArrowheads="1"/>
          </p:cNvSpPr>
          <p:nvPr/>
        </p:nvSpPr>
        <p:spPr bwMode="ltGray">
          <a:xfrm>
            <a:off x="8650064" y="4891492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grpSp>
        <p:nvGrpSpPr>
          <p:cNvPr id="2" name="Group 67"/>
          <p:cNvGrpSpPr/>
          <p:nvPr/>
        </p:nvGrpSpPr>
        <p:grpSpPr>
          <a:xfrm>
            <a:off x="341314" y="233363"/>
            <a:ext cx="829170" cy="328769"/>
            <a:chOff x="609600" y="528537"/>
            <a:chExt cx="1444734" cy="763789"/>
          </a:xfrm>
          <a:gradFill flip="none" rotWithShape="1">
            <a:gsLst>
              <a:gs pos="11000">
                <a:schemeClr val="accent2"/>
              </a:gs>
              <a:gs pos="100000">
                <a:schemeClr val="accent5"/>
              </a:gs>
            </a:gsLst>
            <a:lin ang="2700000" scaled="1"/>
            <a:tileRect/>
          </a:gradFill>
        </p:grpSpPr>
        <p:sp>
          <p:nvSpPr>
            <p:cNvPr id="69" name="Rectangle 68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1" name="Freeform 70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2" name="Freeform 71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3" name="Freeform 72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4" name="Freeform 73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7" name="Freeform 76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57" name="Rectangle 56"/>
          <p:cNvSpPr/>
          <p:nvPr userDrawn="1"/>
        </p:nvSpPr>
        <p:spPr>
          <a:xfrm>
            <a:off x="1" y="4903470"/>
            <a:ext cx="9129008" cy="240030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9" name="Rectangle 5"/>
          <p:cNvSpPr>
            <a:spLocks noChangeArrowheads="1"/>
          </p:cNvSpPr>
          <p:nvPr userDrawn="1"/>
        </p:nvSpPr>
        <p:spPr bwMode="ltGray">
          <a:xfrm>
            <a:off x="7789662" y="4894570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60" name="Rectangle 7"/>
          <p:cNvSpPr>
            <a:spLocks noChangeArrowheads="1"/>
          </p:cNvSpPr>
          <p:nvPr userDrawn="1"/>
        </p:nvSpPr>
        <p:spPr bwMode="ltGray">
          <a:xfrm>
            <a:off x="8650064" y="4891492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6" name="Rectangle 4"/>
          <p:cNvSpPr>
            <a:spLocks noChangeArrowheads="1"/>
          </p:cNvSpPr>
          <p:nvPr userDrawn="1"/>
        </p:nvSpPr>
        <p:spPr bwMode="ltGray">
          <a:xfrm>
            <a:off x="251374" y="4895871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1247559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grpId="0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6" grpId="0" animBg="1"/>
      <p:bldP spid="45" grpId="0" animBg="1"/>
      <p:bldP spid="33" grpId="0" animBg="1"/>
      <p:bldP spid="28" grpId="0" animBg="1"/>
      <p:bldP spid="29" grpId="0" animBg="1"/>
      <p:bldP spid="30" grpId="0" animBg="1"/>
      <p:bldP spid="31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1" grpId="0" animBg="1"/>
      <p:bldP spid="42" grpId="0" animBg="1"/>
    </p:bld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-animated bar_sta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ottom bar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375" y="4781146"/>
            <a:ext cx="8477250" cy="128588"/>
          </a:xfrm>
          <a:prstGeom prst="rect">
            <a:avLst/>
          </a:prstGeom>
        </p:spPr>
      </p:pic>
      <p:pic>
        <p:nvPicPr>
          <p:cNvPr id="43" name="Picture 42" descr="bottom bar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375" y="4781146"/>
            <a:ext cx="8477250" cy="128588"/>
          </a:xfrm>
          <a:prstGeom prst="rect">
            <a:avLst/>
          </a:prstGeom>
        </p:spPr>
      </p:pic>
      <p:sp>
        <p:nvSpPr>
          <p:cNvPr id="47" name="Rectangle 46"/>
          <p:cNvSpPr/>
          <p:nvPr/>
        </p:nvSpPr>
        <p:spPr>
          <a:xfrm>
            <a:off x="3405353" y="4171951"/>
            <a:ext cx="599089" cy="8592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460940" y="4229101"/>
            <a:ext cx="472965" cy="859220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771698" y="4171951"/>
            <a:ext cx="472965" cy="859220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/>
        </p:nvSpPr>
        <p:spPr>
          <a:xfrm rot="10800000" flipH="1">
            <a:off x="2856506" y="623454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8" name="Rounded Rectangle 27"/>
          <p:cNvSpPr/>
          <p:nvPr userDrawn="1"/>
        </p:nvSpPr>
        <p:spPr>
          <a:xfrm rot="10800000" flipH="1">
            <a:off x="821966" y="3537585"/>
            <a:ext cx="656314" cy="11306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9" name="Rounded Rectangle 28"/>
          <p:cNvSpPr/>
          <p:nvPr userDrawn="1"/>
        </p:nvSpPr>
        <p:spPr>
          <a:xfrm rot="10800000" flipH="1">
            <a:off x="1332506" y="1485900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accent3">
              <a:lumMod val="10000"/>
            </a:schemeClr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36" name="Rounded Rectangle 35"/>
          <p:cNvSpPr/>
          <p:nvPr/>
        </p:nvSpPr>
        <p:spPr>
          <a:xfrm rot="10800000" flipH="1">
            <a:off x="4920834" y="768927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7" name="Rounded Rectangle 36"/>
          <p:cNvSpPr/>
          <p:nvPr/>
        </p:nvSpPr>
        <p:spPr>
          <a:xfrm rot="10800000" flipH="1">
            <a:off x="5391889" y="1298863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1" name="Rounded Rectangle 40"/>
          <p:cNvSpPr/>
          <p:nvPr/>
        </p:nvSpPr>
        <p:spPr>
          <a:xfrm rot="10800000" flipH="1">
            <a:off x="8162249" y="1298863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2" name="Rounded Rectangle 41"/>
          <p:cNvSpPr/>
          <p:nvPr/>
        </p:nvSpPr>
        <p:spPr>
          <a:xfrm rot="10800000" flipH="1">
            <a:off x="3770906" y="1485900"/>
            <a:ext cx="656314" cy="318230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14992" y="1"/>
            <a:ext cx="9129008" cy="4783736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1" y="4903470"/>
            <a:ext cx="9129008" cy="2400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3" name="Rectangle 4"/>
          <p:cNvSpPr>
            <a:spLocks noChangeArrowheads="1"/>
          </p:cNvSpPr>
          <p:nvPr/>
        </p:nvSpPr>
        <p:spPr bwMode="ltGray">
          <a:xfrm>
            <a:off x="251374" y="4895871"/>
            <a:ext cx="19483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4" name="Rectangle 5"/>
          <p:cNvSpPr>
            <a:spLocks noChangeArrowheads="1"/>
          </p:cNvSpPr>
          <p:nvPr/>
        </p:nvSpPr>
        <p:spPr bwMode="ltGray">
          <a:xfrm>
            <a:off x="7789662" y="4894570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55" name="Rectangle 7"/>
          <p:cNvSpPr>
            <a:spLocks noChangeArrowheads="1"/>
          </p:cNvSpPr>
          <p:nvPr/>
        </p:nvSpPr>
        <p:spPr bwMode="ltGray">
          <a:xfrm>
            <a:off x="8650064" y="4891492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1" y="4903470"/>
            <a:ext cx="9129008" cy="2400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02" name="Rectangle 4"/>
          <p:cNvSpPr>
            <a:spLocks noChangeArrowheads="1"/>
          </p:cNvSpPr>
          <p:nvPr/>
        </p:nvSpPr>
        <p:spPr bwMode="ltGray">
          <a:xfrm>
            <a:off x="251374" y="4895871"/>
            <a:ext cx="19483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03" name="Rectangle 5"/>
          <p:cNvSpPr>
            <a:spLocks noChangeArrowheads="1"/>
          </p:cNvSpPr>
          <p:nvPr/>
        </p:nvSpPr>
        <p:spPr bwMode="ltGray">
          <a:xfrm>
            <a:off x="7789662" y="4894570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04" name="Rectangle 7"/>
          <p:cNvSpPr>
            <a:spLocks noChangeArrowheads="1"/>
          </p:cNvSpPr>
          <p:nvPr/>
        </p:nvSpPr>
        <p:spPr bwMode="ltGray">
          <a:xfrm>
            <a:off x="8650064" y="4891492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50"/>
            <a:ext cx="8112126" cy="288131"/>
          </a:xfrm>
        </p:spPr>
        <p:txBody>
          <a:bodyPr>
            <a:normAutofit/>
          </a:bodyPr>
          <a:lstStyle>
            <a:lvl1pPr marL="0" indent="0" algn="l">
              <a:buNone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21394" y="936172"/>
            <a:ext cx="8112125" cy="218042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b="0" kern="1200" spc="-200" baseline="0" dirty="0">
                <a:gradFill flip="none" rotWithShape="1">
                  <a:gsLst>
                    <a:gs pos="0">
                      <a:srgbClr val="55E6ED"/>
                    </a:gs>
                    <a:gs pos="80000">
                      <a:srgbClr val="009249"/>
                    </a:gs>
                  </a:gsLst>
                  <a:lin ang="12000000" scaled="0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109" name="Rectangle 108"/>
          <p:cNvSpPr/>
          <p:nvPr/>
        </p:nvSpPr>
        <p:spPr>
          <a:xfrm>
            <a:off x="1" y="4903470"/>
            <a:ext cx="9129008" cy="2400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10" name="Rectangle 4"/>
          <p:cNvSpPr>
            <a:spLocks noChangeArrowheads="1"/>
          </p:cNvSpPr>
          <p:nvPr/>
        </p:nvSpPr>
        <p:spPr bwMode="ltGray">
          <a:xfrm>
            <a:off x="251374" y="4895871"/>
            <a:ext cx="19483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11" name="Rectangle 5"/>
          <p:cNvSpPr>
            <a:spLocks noChangeArrowheads="1"/>
          </p:cNvSpPr>
          <p:nvPr/>
        </p:nvSpPr>
        <p:spPr bwMode="ltGray">
          <a:xfrm>
            <a:off x="7789662" y="4894570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12" name="Rectangle 7"/>
          <p:cNvSpPr>
            <a:spLocks noChangeArrowheads="1"/>
          </p:cNvSpPr>
          <p:nvPr/>
        </p:nvSpPr>
        <p:spPr bwMode="ltGray">
          <a:xfrm>
            <a:off x="8650064" y="4891492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grpSp>
        <p:nvGrpSpPr>
          <p:cNvPr id="2" name="Group 67"/>
          <p:cNvGrpSpPr/>
          <p:nvPr/>
        </p:nvGrpSpPr>
        <p:grpSpPr>
          <a:xfrm>
            <a:off x="341314" y="233363"/>
            <a:ext cx="829170" cy="328769"/>
            <a:chOff x="609600" y="528537"/>
            <a:chExt cx="1444734" cy="763789"/>
          </a:xfrm>
          <a:gradFill flip="none" rotWithShape="1">
            <a:gsLst>
              <a:gs pos="11000">
                <a:schemeClr val="accent2"/>
              </a:gs>
              <a:gs pos="100000">
                <a:schemeClr val="accent5"/>
              </a:gs>
            </a:gsLst>
            <a:lin ang="2700000" scaled="1"/>
            <a:tileRect/>
          </a:gradFill>
        </p:grpSpPr>
        <p:sp>
          <p:nvSpPr>
            <p:cNvPr id="69" name="Rectangle 68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1" name="Freeform 70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2" name="Freeform 71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3" name="Freeform 72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4" name="Freeform 73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7" name="Freeform 76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57" name="Rectangle 56"/>
          <p:cNvSpPr/>
          <p:nvPr userDrawn="1"/>
        </p:nvSpPr>
        <p:spPr>
          <a:xfrm>
            <a:off x="1" y="4903470"/>
            <a:ext cx="9129008" cy="240030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9" name="Rectangle 5"/>
          <p:cNvSpPr>
            <a:spLocks noChangeArrowheads="1"/>
          </p:cNvSpPr>
          <p:nvPr userDrawn="1"/>
        </p:nvSpPr>
        <p:spPr bwMode="ltGray">
          <a:xfrm>
            <a:off x="7789662" y="4894570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60" name="Rectangle 7"/>
          <p:cNvSpPr>
            <a:spLocks noChangeArrowheads="1"/>
          </p:cNvSpPr>
          <p:nvPr userDrawn="1"/>
        </p:nvSpPr>
        <p:spPr bwMode="ltGray">
          <a:xfrm>
            <a:off x="8650064" y="4891492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6" name="Rectangle 4"/>
          <p:cNvSpPr>
            <a:spLocks noChangeArrowheads="1"/>
          </p:cNvSpPr>
          <p:nvPr userDrawn="1"/>
        </p:nvSpPr>
        <p:spPr bwMode="ltGray">
          <a:xfrm>
            <a:off x="251374" y="4895871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3147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soli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29" name="Rounded Rectangle 28"/>
          <p:cNvSpPr/>
          <p:nvPr/>
        </p:nvSpPr>
        <p:spPr>
          <a:xfrm>
            <a:off x="1823499" y="-2677944"/>
            <a:ext cx="1729740" cy="1051063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0" y="-478290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/>
        </p:nvSpPr>
        <p:spPr>
          <a:xfrm rot="10800000">
            <a:off x="1013791" y="3186454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2" name="Rounded Rectangle 31"/>
          <p:cNvSpPr/>
          <p:nvPr userDrawn="1"/>
        </p:nvSpPr>
        <p:spPr>
          <a:xfrm>
            <a:off x="6585483" y="-2184960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3" name="Rounded Rectangle 32"/>
          <p:cNvSpPr/>
          <p:nvPr userDrawn="1"/>
        </p:nvSpPr>
        <p:spPr>
          <a:xfrm>
            <a:off x="8105451" y="4274396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4" name="Rounded Rectangle 33"/>
          <p:cNvSpPr/>
          <p:nvPr/>
        </p:nvSpPr>
        <p:spPr>
          <a:xfrm rot="10800000">
            <a:off x="3036073" y="1137129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394" y="927517"/>
            <a:ext cx="8112125" cy="2189084"/>
          </a:xfrm>
        </p:spPr>
        <p:txBody>
          <a:bodyPr/>
          <a:lstStyle>
            <a:lvl1pPr>
              <a:lnSpc>
                <a:spcPct val="90000"/>
              </a:lnSpc>
              <a:defRPr sz="6000" b="0" spc="-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grpSp>
        <p:nvGrpSpPr>
          <p:cNvPr id="4" name="Group 38"/>
          <p:cNvGrpSpPr/>
          <p:nvPr/>
        </p:nvGrpSpPr>
        <p:grpSpPr>
          <a:xfrm>
            <a:off x="341314" y="233363"/>
            <a:ext cx="829170" cy="328769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4" name="Rectangle 63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7" name="Freeform 66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9" name="Freeform 6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1" name="Freeform 7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2" name="Freeform 7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3" name="Freeform 7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4" name="Freeform 7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7" name="Freeform 7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52"/>
            <a:ext cx="8112126" cy="288131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58" name="Rectangle 5"/>
          <p:cNvSpPr>
            <a:spLocks noChangeArrowheads="1"/>
          </p:cNvSpPr>
          <p:nvPr/>
        </p:nvSpPr>
        <p:spPr bwMode="ltGray">
          <a:xfrm>
            <a:off x="7789662" y="4894570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EEECE1"/>
                </a:solidFill>
                <a:latin typeface="Arial"/>
              </a:rPr>
              <a:t>Cisco Confidential</a:t>
            </a:r>
          </a:p>
        </p:txBody>
      </p:sp>
      <p:sp>
        <p:nvSpPr>
          <p:cNvPr id="59" name="Rectangle 7"/>
          <p:cNvSpPr>
            <a:spLocks noChangeArrowheads="1"/>
          </p:cNvSpPr>
          <p:nvPr/>
        </p:nvSpPr>
        <p:spPr bwMode="ltGray">
          <a:xfrm>
            <a:off x="8650064" y="4891492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EEECE1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EEECE1"/>
              </a:solidFill>
              <a:latin typeface="Arial"/>
            </a:endParaRPr>
          </a:p>
        </p:txBody>
      </p:sp>
      <p:sp>
        <p:nvSpPr>
          <p:cNvPr id="36" name="Rectangle 4"/>
          <p:cNvSpPr>
            <a:spLocks noChangeArrowheads="1"/>
          </p:cNvSpPr>
          <p:nvPr userDrawn="1"/>
        </p:nvSpPr>
        <p:spPr bwMode="ltGray">
          <a:xfrm>
            <a:off x="251374" y="4895871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565731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solid gradient_sta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37" name="Rounded Rectangle 36"/>
          <p:cNvSpPr/>
          <p:nvPr userDrawn="1"/>
        </p:nvSpPr>
        <p:spPr>
          <a:xfrm>
            <a:off x="1823499" y="2481707"/>
            <a:ext cx="1729740" cy="1051063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8" name="Rounded Rectangle 37"/>
          <p:cNvSpPr/>
          <p:nvPr userDrawn="1"/>
        </p:nvSpPr>
        <p:spPr>
          <a:xfrm>
            <a:off x="0" y="927517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9" name="Rounded Rectangle 38"/>
          <p:cNvSpPr/>
          <p:nvPr userDrawn="1"/>
        </p:nvSpPr>
        <p:spPr>
          <a:xfrm rot="10800000">
            <a:off x="1013791" y="3186454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0" name="Rounded Rectangle 39"/>
          <p:cNvSpPr/>
          <p:nvPr userDrawn="1"/>
        </p:nvSpPr>
        <p:spPr>
          <a:xfrm>
            <a:off x="6585483" y="-1542022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1" name="Rounded Rectangle 40"/>
          <p:cNvSpPr/>
          <p:nvPr userDrawn="1"/>
        </p:nvSpPr>
        <p:spPr>
          <a:xfrm>
            <a:off x="8105451" y="2087839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2" name="Rounded Rectangle 41"/>
          <p:cNvSpPr/>
          <p:nvPr userDrawn="1"/>
        </p:nvSpPr>
        <p:spPr>
          <a:xfrm rot="10800000">
            <a:off x="3036073" y="130792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394" y="927517"/>
            <a:ext cx="8112125" cy="2189084"/>
          </a:xfrm>
        </p:spPr>
        <p:txBody>
          <a:bodyPr/>
          <a:lstStyle>
            <a:lvl1pPr>
              <a:lnSpc>
                <a:spcPct val="90000"/>
              </a:lnSpc>
              <a:defRPr sz="6000" b="0" spc="-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grpSp>
        <p:nvGrpSpPr>
          <p:cNvPr id="4" name="Group 38"/>
          <p:cNvGrpSpPr/>
          <p:nvPr/>
        </p:nvGrpSpPr>
        <p:grpSpPr>
          <a:xfrm>
            <a:off x="341314" y="233363"/>
            <a:ext cx="829170" cy="328769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4" name="Rectangle 63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7" name="Freeform 66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9" name="Freeform 6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1" name="Freeform 7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2" name="Freeform 7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3" name="Freeform 7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4" name="Freeform 7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77" name="Freeform 7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3348052"/>
            <a:ext cx="8112126" cy="288131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58" name="Rectangle 5"/>
          <p:cNvSpPr>
            <a:spLocks noChangeArrowheads="1"/>
          </p:cNvSpPr>
          <p:nvPr/>
        </p:nvSpPr>
        <p:spPr bwMode="ltGray">
          <a:xfrm>
            <a:off x="7789662" y="4894570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EEECE1"/>
                </a:solidFill>
                <a:latin typeface="Arial"/>
              </a:rPr>
              <a:t>Cisco Confidential</a:t>
            </a:r>
          </a:p>
        </p:txBody>
      </p:sp>
      <p:sp>
        <p:nvSpPr>
          <p:cNvPr id="59" name="Rectangle 7"/>
          <p:cNvSpPr>
            <a:spLocks noChangeArrowheads="1"/>
          </p:cNvSpPr>
          <p:nvPr/>
        </p:nvSpPr>
        <p:spPr bwMode="ltGray">
          <a:xfrm>
            <a:off x="8650064" y="4891492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EEECE1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EEECE1"/>
              </a:solidFill>
              <a:latin typeface="Arial"/>
            </a:endParaRPr>
          </a:p>
        </p:txBody>
      </p:sp>
      <p:sp>
        <p:nvSpPr>
          <p:cNvPr id="36" name="Rectangle 4"/>
          <p:cNvSpPr>
            <a:spLocks noChangeArrowheads="1"/>
          </p:cNvSpPr>
          <p:nvPr userDrawn="1"/>
        </p:nvSpPr>
        <p:spPr bwMode="ltGray">
          <a:xfrm>
            <a:off x="251374" y="4895871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9473052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4800" y="2330054"/>
            <a:ext cx="8534400" cy="2578894"/>
          </a:xfrm>
          <a:prstGeom prst="rect">
            <a:avLst/>
          </a:prstGeom>
          <a:noFill/>
        </p:spPr>
      </p:pic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394" y="299357"/>
            <a:ext cx="8112125" cy="1805282"/>
          </a:xfr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5400" b="0" kern="1200" spc="-150" baseline="0" dirty="0">
                <a:gradFill flip="none" rotWithShape="1">
                  <a:gsLst>
                    <a:gs pos="0">
                      <a:srgbClr val="55E6ED"/>
                    </a:gs>
                    <a:gs pos="80000">
                      <a:srgbClr val="009249"/>
                    </a:gs>
                  </a:gsLst>
                  <a:lin ang="12000000" scaled="0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89662" y="4894570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50064" y="4891492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51374" y="4895871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7522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 Same Side Corner Rectangle 16"/>
          <p:cNvSpPr/>
          <p:nvPr userDrawn="1"/>
        </p:nvSpPr>
        <p:spPr>
          <a:xfrm rot="10800000" flipV="1">
            <a:off x="1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black">
          <a:xfrm>
            <a:off x="4373704" y="4244287"/>
            <a:ext cx="41443" cy="15701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19" name="Freeform 18"/>
          <p:cNvSpPr>
            <a:spLocks/>
          </p:cNvSpPr>
          <p:nvPr userDrawn="1"/>
        </p:nvSpPr>
        <p:spPr bwMode="black">
          <a:xfrm>
            <a:off x="4615132" y="4239939"/>
            <a:ext cx="119991" cy="165712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4" name="Freeform 33"/>
          <p:cNvSpPr>
            <a:spLocks/>
          </p:cNvSpPr>
          <p:nvPr userDrawn="1"/>
        </p:nvSpPr>
        <p:spPr bwMode="black">
          <a:xfrm>
            <a:off x="4200223" y="4239939"/>
            <a:ext cx="119991" cy="165712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5" name="Freeform 34"/>
          <p:cNvSpPr>
            <a:spLocks noEditPoints="1"/>
          </p:cNvSpPr>
          <p:nvPr userDrawn="1"/>
        </p:nvSpPr>
        <p:spPr bwMode="black">
          <a:xfrm>
            <a:off x="4778493" y="4239939"/>
            <a:ext cx="164807" cy="165712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6" name="Freeform 35"/>
          <p:cNvSpPr>
            <a:spLocks/>
          </p:cNvSpPr>
          <p:nvPr userDrawn="1"/>
        </p:nvSpPr>
        <p:spPr bwMode="black">
          <a:xfrm>
            <a:off x="4468634" y="4239939"/>
            <a:ext cx="107462" cy="165712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/>
          </p:cNvSpPr>
          <p:nvPr userDrawn="1"/>
        </p:nvSpPr>
        <p:spPr bwMode="black">
          <a:xfrm>
            <a:off x="4117819" y="4053935"/>
            <a:ext cx="39033" cy="8068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/>
          </p:cNvSpPr>
          <p:nvPr userDrawn="1"/>
        </p:nvSpPr>
        <p:spPr bwMode="black">
          <a:xfrm>
            <a:off x="4227208" y="3999826"/>
            <a:ext cx="39033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/>
          </p:cNvSpPr>
          <p:nvPr userDrawn="1"/>
        </p:nvSpPr>
        <p:spPr bwMode="black">
          <a:xfrm>
            <a:off x="4334671" y="3925425"/>
            <a:ext cx="39033" cy="24832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 userDrawn="1"/>
        </p:nvSpPr>
        <p:spPr bwMode="black">
          <a:xfrm>
            <a:off x="4444060" y="3999826"/>
            <a:ext cx="39033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4551040" y="4053935"/>
            <a:ext cx="41443" cy="8068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4660430" y="3999826"/>
            <a:ext cx="39515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4769820" y="3925425"/>
            <a:ext cx="39515" cy="24832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4877281" y="3999826"/>
            <a:ext cx="39515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4986671" y="4053935"/>
            <a:ext cx="39515" cy="8068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128436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34" grpId="0" animBg="1"/>
      <p:bldP spid="35" grpId="0" animBg="1"/>
      <p:bldP spid="36" grpId="0" animBg="1"/>
      <p:bldP spid="37" grpId="0" animBg="1"/>
      <p:bldP spid="37" grpId="1" animBg="1"/>
      <p:bldP spid="38" grpId="0" animBg="1"/>
      <p:bldP spid="38" grpId="1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</p:bld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3" y="324161"/>
            <a:ext cx="8588861" cy="62865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081009"/>
            <a:ext cx="8578850" cy="3395741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234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3" y="324161"/>
            <a:ext cx="8588861" cy="62865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4" y="1004809"/>
            <a:ext cx="4122425" cy="3724275"/>
          </a:xfrm>
        </p:spPr>
        <p:txBody>
          <a:bodyPr>
            <a:norm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2" y="1004809"/>
            <a:ext cx="4122425" cy="3724275"/>
          </a:xfrm>
        </p:spPr>
        <p:txBody>
          <a:bodyPr>
            <a:norm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10980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 userDrawn="1"/>
        </p:nvSpPr>
        <p:spPr>
          <a:xfrm>
            <a:off x="4984231" y="1058432"/>
            <a:ext cx="3759720" cy="359549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3" y="324161"/>
            <a:ext cx="8588861" cy="62865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4" y="1004809"/>
            <a:ext cx="4103687" cy="3724275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221224" y="1310763"/>
            <a:ext cx="3236976" cy="651460"/>
          </a:xfrm>
        </p:spPr>
        <p:txBody>
          <a:bodyPr>
            <a:spAutoFit/>
          </a:bodyPr>
          <a:lstStyle>
            <a:lvl1pPr marL="114300" indent="-114300"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chemeClr val="tx1"/>
                    </a:gs>
                    <a:gs pos="47000">
                      <a:schemeClr val="accent2"/>
                    </a:gs>
                    <a:gs pos="100000">
                      <a:schemeClr val="accent4"/>
                    </a:gs>
                  </a:gsLst>
                  <a:lin ang="3600000" scaled="0"/>
                </a:gradFill>
                <a:latin typeface="+mj-lt"/>
                <a:ea typeface="+mn-ea"/>
                <a:cs typeface="+mn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“This is the sample </a:t>
            </a:r>
            <a:br>
              <a:rPr lang="en-US" dirty="0" smtClean="0"/>
            </a:br>
            <a:r>
              <a:rPr lang="en-US" dirty="0" smtClean="0"/>
              <a:t>pull quote.”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10432" y="3551663"/>
            <a:ext cx="3236976" cy="338554"/>
          </a:xfrm>
          <a:noFill/>
        </p:spPr>
        <p:txBody>
          <a:bodyPr vert="horz" wrap="square" lIns="91440" tIns="45720" rIns="91440" bIns="45720" rtlCol="0">
            <a:spAutoFit/>
          </a:bodyPr>
          <a:lstStyle>
            <a:lvl1pPr marL="114300" marR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iscolight" pitchFamily="2" charset="0"/>
                <a:ea typeface="+mn-ea"/>
                <a:cs typeface="+mn-cs"/>
              </a:rPr>
              <a:t>Source Name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51374" y="4895871"/>
            <a:ext cx="2568027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789662" y="4894570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ltGray">
          <a:xfrm>
            <a:off x="8650064" y="4891492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pic>
        <p:nvPicPr>
          <p:cNvPr id="21" name="Picture 20" descr="verticalba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8237" y="1001485"/>
            <a:ext cx="83809" cy="372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97579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3" y="324161"/>
            <a:ext cx="8588861" cy="628650"/>
          </a:xfrm>
        </p:spPr>
        <p:txBody>
          <a:bodyPr/>
          <a:lstStyle>
            <a:lvl1pPr>
              <a:defRPr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825944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226314"/>
            <a:ext cx="4123944" cy="628650"/>
          </a:xfrm>
        </p:spPr>
        <p:txBody>
          <a:bodyPr vert="horz" lIns="82296" tIns="45720" rIns="82296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 smtClean="0"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818888" y="233172"/>
            <a:ext cx="3895344" cy="630936"/>
          </a:xfrm>
        </p:spPr>
        <p:txBody>
          <a:bodyPr vert="horz" lIns="82296" tIns="45720" rIns="82296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Righ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19455" y="1200150"/>
            <a:ext cx="4142232" cy="339471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j-lt"/>
              </a:defRPr>
            </a:lvl1pPr>
            <a:lvl2pPr marL="635000" indent="-228600">
              <a:buClr>
                <a:schemeClr val="accent5"/>
              </a:buClr>
              <a:buFont typeface="Arial" pitchFamily="34" charset="0"/>
              <a:buChar char="•"/>
              <a:tabLst/>
              <a:defRPr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818888" y="1200150"/>
            <a:ext cx="4005072" cy="339471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635000" indent="-228600">
              <a:buClr>
                <a:schemeClr val="accent1">
                  <a:lumMod val="40000"/>
                  <a:lumOff val="60000"/>
                </a:schemeClr>
              </a:buClr>
              <a:buFont typeface="Arial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ltGray">
          <a:xfrm>
            <a:off x="7789662" y="4894570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ltGray">
          <a:xfrm>
            <a:off x="8650064" y="4891492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pic>
        <p:nvPicPr>
          <p:cNvPr id="15" name="Picture 14" descr="verticalba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7859" y="583250"/>
            <a:ext cx="89319" cy="3965757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51374" y="4895871"/>
            <a:ext cx="2568027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215089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315076" y="73781"/>
            <a:ext cx="2633472" cy="864108"/>
          </a:xfrm>
        </p:spPr>
        <p:txBody>
          <a:bodyPr anchor="b">
            <a:noAutofit/>
          </a:bodyPr>
          <a:lstStyle>
            <a:lvl1pPr>
              <a:defRPr kumimoji="0" lang="en-US" sz="3000" b="0" i="0" u="none" strike="noStrike" kern="1200" cap="none" spc="-100" normalizeH="0" baseline="0" noProof="0" dirty="0" smtClean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" name="Rectangle 2"/>
          <p:cNvSpPr/>
          <p:nvPr/>
        </p:nvSpPr>
        <p:spPr>
          <a:xfrm flipV="1">
            <a:off x="217358" y="4766872"/>
            <a:ext cx="8694295" cy="157943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15901" y="73782"/>
            <a:ext cx="2670175" cy="863204"/>
          </a:xfrm>
        </p:spPr>
        <p:txBody>
          <a:bodyPr anchor="b">
            <a:noAutofit/>
          </a:bodyPr>
          <a:lstStyle>
            <a:lvl1pPr>
              <a:defRPr kumimoji="0" lang="en-US" sz="3000" b="0" i="0" u="none" strike="noStrike" kern="1200" cap="none" spc="-100" normalizeH="0" baseline="0" noProof="0" dirty="0" smtClean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295651" y="73781"/>
            <a:ext cx="2596896" cy="864108"/>
          </a:xfrm>
        </p:spPr>
        <p:txBody>
          <a:bodyPr anchor="b">
            <a:noAutofit/>
          </a:bodyPr>
          <a:lstStyle>
            <a:lvl1pPr>
              <a:defRPr kumimoji="0" lang="en-US" sz="3000" b="0" i="0" u="none" strike="noStrike" kern="1200" cap="none" spc="-100" normalizeH="0" baseline="0" noProof="0" dirty="0" smtClean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200150"/>
            <a:ext cx="2622550" cy="329326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5" y="1200150"/>
            <a:ext cx="2593975" cy="3271838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200151"/>
            <a:ext cx="2633662" cy="3250406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6" name="Picture 15" descr="verticalba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8159" y="583250"/>
            <a:ext cx="89319" cy="3965757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 descr="verticalba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9009" y="583250"/>
            <a:ext cx="89319" cy="396575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0035173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246972" y="329783"/>
            <a:ext cx="8567244" cy="62865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5" y="1107281"/>
            <a:ext cx="8439461" cy="3228975"/>
          </a:xfrm>
        </p:spPr>
        <p:txBody>
          <a:bodyPr anchor="ctr" anchorCtr="1"/>
          <a:lstStyle>
            <a:lvl1pPr>
              <a:buNone/>
              <a:defRPr>
                <a:latin typeface="+mj-lt"/>
              </a:defRPr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6" y="4477336"/>
            <a:ext cx="7461250" cy="276999"/>
          </a:xfrm>
        </p:spPr>
        <p:txBody>
          <a:bodyPr wrap="square" anchor="b" anchorCtr="0">
            <a:sp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2002289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4072683"/>
            <a:ext cx="8558698" cy="628650"/>
          </a:xfr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6888" y="1200150"/>
            <a:ext cx="4005072" cy="2811780"/>
          </a:xfrm>
        </p:spPr>
        <p:txBody>
          <a:bodyPr anchor="ctr" anchorCtr="0">
            <a:normAutofit/>
          </a:bodyPr>
          <a:lstStyle>
            <a:lvl1pPr marL="0" indent="0">
              <a:buFontTx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Simple text goes here and can wrap to accommodate more lines of information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4873752" y="1460754"/>
            <a:ext cx="3429000" cy="2242566"/>
          </a:xfrm>
        </p:spPr>
        <p:txBody>
          <a:bodyPr anchor="ctr" anchorCtr="1"/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29363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4072683"/>
            <a:ext cx="8558698" cy="628650"/>
          </a:xfr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24898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3776" y="4389121"/>
            <a:ext cx="8112126" cy="288131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9457" y="486918"/>
            <a:ext cx="8112125" cy="3360420"/>
          </a:xfrm>
        </p:spPr>
        <p:txBody>
          <a:bodyPr/>
          <a:lstStyle>
            <a:lvl1pPr marL="233363" indent="-233363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Char char="“"/>
              <a:defRPr lang="en-US" sz="6000" b="0" kern="1200" spc="-2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27691075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8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xmlns:p14="http://schemas.microsoft.com/office/powerpoint/2010/main" presetID="22" presetClass="entr" presetSubtype="4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4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 Same Side Corner Rectangle 17"/>
          <p:cNvSpPr/>
          <p:nvPr userDrawn="1"/>
        </p:nvSpPr>
        <p:spPr>
          <a:xfrm rot="10800000" flipV="1">
            <a:off x="1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44691" y="2295368"/>
            <a:ext cx="24686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3600" dirty="0">
                <a:solidFill>
                  <a:srgbClr val="FFFFFF"/>
                </a:solidFill>
                <a:latin typeface="Arial"/>
              </a:rPr>
              <a:t>Thank you.</a:t>
            </a: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black">
          <a:xfrm>
            <a:off x="6312989" y="2785701"/>
            <a:ext cx="116616" cy="44182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5" name="Freeform 34"/>
          <p:cNvSpPr>
            <a:spLocks/>
          </p:cNvSpPr>
          <p:nvPr userDrawn="1"/>
        </p:nvSpPr>
        <p:spPr bwMode="black">
          <a:xfrm>
            <a:off x="6992342" y="2774703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6" name="Freeform 35"/>
          <p:cNvSpPr>
            <a:spLocks/>
          </p:cNvSpPr>
          <p:nvPr userDrawn="1"/>
        </p:nvSpPr>
        <p:spPr bwMode="black">
          <a:xfrm>
            <a:off x="5824831" y="2774703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 noEditPoints="1"/>
          </p:cNvSpPr>
          <p:nvPr userDrawn="1"/>
        </p:nvSpPr>
        <p:spPr bwMode="black">
          <a:xfrm>
            <a:off x="7452023" y="2774703"/>
            <a:ext cx="463750" cy="466297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/>
          </p:cNvSpPr>
          <p:nvPr userDrawn="1"/>
        </p:nvSpPr>
        <p:spPr bwMode="black">
          <a:xfrm>
            <a:off x="6580119" y="2774703"/>
            <a:ext cx="302387" cy="466297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/>
          </p:cNvSpPr>
          <p:nvPr userDrawn="1"/>
        </p:nvSpPr>
        <p:spPr bwMode="black">
          <a:xfrm>
            <a:off x="5592957" y="2159538"/>
            <a:ext cx="109835" cy="22703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 userDrawn="1"/>
        </p:nvSpPr>
        <p:spPr bwMode="black">
          <a:xfrm>
            <a:off x="5900766" y="2007278"/>
            <a:ext cx="109835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6203156" y="1797920"/>
            <a:ext cx="109835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6510965" y="2007279"/>
            <a:ext cx="109835" cy="3792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6811994" y="2159537"/>
            <a:ext cx="116616" cy="22703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7119808" y="2007278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7427620" y="1797920"/>
            <a:ext cx="111191" cy="698766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7730004" y="2007278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8037816" y="2159537"/>
            <a:ext cx="111191" cy="22703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dirty="0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5770816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19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</p:bld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1439056"/>
            <a:ext cx="4117446" cy="2265389"/>
          </a:xfrm>
        </p:spPr>
        <p:txBody>
          <a:bodyPr vert="horz" lIns="82296" tIns="45720" rIns="82296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-2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tx2">
                        <a:lumMod val="75000"/>
                      </a:schemeClr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19" y="233172"/>
            <a:ext cx="3895344" cy="4656582"/>
          </a:xfrm>
        </p:spPr>
        <p:txBody>
          <a:bodyPr anchor="ctr" anchorCtr="0">
            <a:normAutofit/>
          </a:bodyPr>
          <a:lstStyle>
            <a:lvl1pPr>
              <a:defRPr sz="2000" baseline="0">
                <a:solidFill>
                  <a:schemeClr val="tx1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  <p:pic>
        <p:nvPicPr>
          <p:cNvPr id="12" name="Picture 11" descr="verticalba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1928" y="583250"/>
            <a:ext cx="89319" cy="396575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5613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1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1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4" y="3209545"/>
            <a:ext cx="4684867" cy="28813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grpSp>
        <p:nvGrpSpPr>
          <p:cNvPr id="4" name="Group 38"/>
          <p:cNvGrpSpPr/>
          <p:nvPr userDrawn="1"/>
        </p:nvGrpSpPr>
        <p:grpSpPr>
          <a:xfrm>
            <a:off x="341314" y="233363"/>
            <a:ext cx="908367" cy="360170"/>
            <a:chOff x="609600" y="528537"/>
            <a:chExt cx="1444734" cy="763789"/>
          </a:xfrm>
          <a:gradFill flip="none" rotWithShape="1">
            <a:gsLst>
              <a:gs pos="11000">
                <a:schemeClr val="accent2"/>
              </a:gs>
              <a:gs pos="100000">
                <a:schemeClr val="accent5"/>
              </a:gs>
            </a:gsLst>
            <a:lin ang="2700000" scaled="1"/>
            <a:tileRect/>
          </a:gradFill>
        </p:grpSpPr>
        <p:sp>
          <p:nvSpPr>
            <p:cNvPr id="10" name="Rectangle 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8694" y="2462022"/>
            <a:ext cx="4712557" cy="766763"/>
          </a:xfrm>
        </p:spPr>
        <p:txBody>
          <a:bodyPr vert="horz" lIns="82296" tIns="45720" rIns="82296" bIns="4572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-20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tx2">
                        <a:lumMod val="75000"/>
                      </a:schemeClr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5540376" y="1438275"/>
            <a:ext cx="2676525" cy="2166938"/>
          </a:xfrm>
        </p:spPr>
        <p:txBody>
          <a:bodyPr anchor="ctr" anchorCtr="1"/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38906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/>
        </p:nvSpPr>
        <p:spPr>
          <a:xfrm>
            <a:off x="-12700" y="4606291"/>
            <a:ext cx="9156700" cy="537209"/>
          </a:xfrm>
          <a:prstGeom prst="rect">
            <a:avLst/>
          </a:prstGeom>
          <a:solidFill>
            <a:srgbClr val="08252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7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6700" cy="5143500"/>
          </a:xfrm>
          <a:prstGeom prst="rect">
            <a:avLst/>
          </a:prstGeom>
          <a:noFill/>
        </p:spPr>
      </p:pic>
      <p:sp>
        <p:nvSpPr>
          <p:cNvPr id="9" name="Rounded Rectangle 8"/>
          <p:cNvSpPr/>
          <p:nvPr userDrawn="1"/>
        </p:nvSpPr>
        <p:spPr>
          <a:xfrm>
            <a:off x="1823499" y="-2683566"/>
            <a:ext cx="1729740" cy="1051063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0" name="Rounded Rectangle 9"/>
          <p:cNvSpPr/>
          <p:nvPr userDrawn="1"/>
        </p:nvSpPr>
        <p:spPr>
          <a:xfrm>
            <a:off x="0" y="-483912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1" name="Rounded Rectangle 10"/>
          <p:cNvSpPr/>
          <p:nvPr userDrawn="1"/>
        </p:nvSpPr>
        <p:spPr>
          <a:xfrm rot="10800000">
            <a:off x="1013791" y="-483912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6375620" y="1283390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8105451" y="626165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ounded Rectangle 13"/>
          <p:cNvSpPr/>
          <p:nvPr/>
        </p:nvSpPr>
        <p:spPr>
          <a:xfrm rot="10800000">
            <a:off x="3036073" y="-2533236"/>
            <a:ext cx="1729740" cy="61113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363475"/>
            <a:ext cx="8755128" cy="3279098"/>
          </a:xfrm>
        </p:spPr>
        <p:txBody>
          <a:bodyPr anchor="b" anchorCtr="0"/>
          <a:lstStyle>
            <a:lvl1pPr marL="174625" indent="-174625">
              <a:buFont typeface="Arial" pitchFamily="34" charset="0"/>
              <a:buChar char="“"/>
              <a:defRPr sz="5400" spc="-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8" name="Rectangle 5"/>
          <p:cNvSpPr>
            <a:spLocks noChangeArrowheads="1"/>
          </p:cNvSpPr>
          <p:nvPr/>
        </p:nvSpPr>
        <p:spPr bwMode="ltGray">
          <a:xfrm>
            <a:off x="7762660" y="4894571"/>
            <a:ext cx="8129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prstClr val="white"/>
                </a:solidFill>
                <a:latin typeface="Arial"/>
              </a:rPr>
              <a:t>Cisco Confidential</a:t>
            </a: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ltGray">
          <a:xfrm>
            <a:off x="8649164" y="4891493"/>
            <a:ext cx="2607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prstClr val="white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7762660" y="4894571"/>
            <a:ext cx="8129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prstClr val="white"/>
                </a:solidFill>
                <a:latin typeface="Arial"/>
              </a:rPr>
              <a:t>Cisco Confidential</a:t>
            </a:r>
          </a:p>
        </p:txBody>
      </p:sp>
      <p:sp>
        <p:nvSpPr>
          <p:cNvPr id="20" name="Rectangle 7"/>
          <p:cNvSpPr>
            <a:spLocks noChangeArrowheads="1"/>
          </p:cNvSpPr>
          <p:nvPr userDrawn="1"/>
        </p:nvSpPr>
        <p:spPr bwMode="ltGray">
          <a:xfrm>
            <a:off x="8649164" y="4891493"/>
            <a:ext cx="2607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prstClr val="white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9769" y="4019177"/>
            <a:ext cx="8574685" cy="460772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ource</a:t>
            </a:r>
            <a:endParaRPr lang="en-US" dirty="0"/>
          </a:p>
        </p:txBody>
      </p:sp>
      <p:sp>
        <p:nvSpPr>
          <p:cNvPr id="21" name="Rectangle 4"/>
          <p:cNvSpPr>
            <a:spLocks noChangeArrowheads="1"/>
          </p:cNvSpPr>
          <p:nvPr userDrawn="1"/>
        </p:nvSpPr>
        <p:spPr bwMode="ltGray">
          <a:xfrm>
            <a:off x="251374" y="4895871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FFFFFF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831688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2" grpId="0"/>
      <p:bldP spid="7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29" name="Rectangle 28"/>
          <p:cNvSpPr/>
          <p:nvPr/>
        </p:nvSpPr>
        <p:spPr>
          <a:xfrm>
            <a:off x="1891875" y="596646"/>
            <a:ext cx="5349240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891874" y="3595764"/>
            <a:ext cx="5347552" cy="7472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900238" y="596646"/>
            <a:ext cx="5329238" cy="300380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75943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32" name="Rectangle 31"/>
          <p:cNvSpPr/>
          <p:nvPr/>
        </p:nvSpPr>
        <p:spPr>
          <a:xfrm>
            <a:off x="338328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38328" y="233172"/>
            <a:ext cx="3273552" cy="184480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29703" y="2571750"/>
            <a:ext cx="7009298" cy="1449628"/>
          </a:xfrm>
        </p:spPr>
        <p:txBody>
          <a:bodyPr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Large photo </a:t>
            </a:r>
            <a:br>
              <a:rPr lang="en-US" dirty="0" smtClean="0"/>
            </a:br>
            <a:r>
              <a:rPr lang="en-US" dirty="0" smtClean="0"/>
              <a:t>caption here.</a:t>
            </a:r>
          </a:p>
        </p:txBody>
      </p:sp>
    </p:spTree>
    <p:extLst>
      <p:ext uri="{BB962C8B-B14F-4D97-AF65-F5344CB8AC3E}">
        <p14:creationId xmlns:p14="http://schemas.microsoft.com/office/powerpoint/2010/main" val="38326598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40" name="Rectangle 39"/>
          <p:cNvSpPr/>
          <p:nvPr/>
        </p:nvSpPr>
        <p:spPr>
          <a:xfrm>
            <a:off x="4992624" y="644652"/>
            <a:ext cx="3630168" cy="3771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992624" y="644652"/>
            <a:ext cx="3630168" cy="37719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546729"/>
            <a:ext cx="4349918" cy="997196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423463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48" name="Rectangle 47"/>
          <p:cNvSpPr/>
          <p:nvPr/>
        </p:nvSpPr>
        <p:spPr>
          <a:xfrm>
            <a:off x="3668713" y="233362"/>
            <a:ext cx="3268136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668990" y="233362"/>
            <a:ext cx="3267861" cy="1995489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334963" y="233362"/>
            <a:ext cx="3258612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20825" y="233362"/>
            <a:ext cx="3272751" cy="1995489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7011988" y="233362"/>
            <a:ext cx="1806574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7011989" y="233362"/>
            <a:ext cx="1806573" cy="98107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2" name="Rectangle 51"/>
          <p:cNvSpPr/>
          <p:nvPr/>
        </p:nvSpPr>
        <p:spPr>
          <a:xfrm>
            <a:off x="334964" y="2271713"/>
            <a:ext cx="2501965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320824" y="2271713"/>
            <a:ext cx="2516104" cy="25942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4" name="Rectangle 53"/>
          <p:cNvSpPr/>
          <p:nvPr/>
        </p:nvSpPr>
        <p:spPr>
          <a:xfrm>
            <a:off x="2911476" y="2271713"/>
            <a:ext cx="4025374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2908334" y="2271713"/>
            <a:ext cx="4028516" cy="25942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7011988" y="1262743"/>
            <a:ext cx="1806574" cy="258161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7011989" y="1257300"/>
            <a:ext cx="1806573" cy="2587058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7011988" y="3887220"/>
            <a:ext cx="1806574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7011989" y="3887220"/>
            <a:ext cx="1806573" cy="97869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06356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38328" y="233172"/>
            <a:ext cx="8476488" cy="455654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333376" y="233172"/>
            <a:ext cx="8474869" cy="4540639"/>
          </a:xfrm>
          <a:ln>
            <a:solidFill>
              <a:schemeClr val="bg2"/>
            </a:solidFill>
          </a:ln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Photo placeholder</a:t>
            </a:r>
            <a:endParaRPr lang="en-US" dirty="0"/>
          </a:p>
        </p:txBody>
      </p:sp>
      <p:pic>
        <p:nvPicPr>
          <p:cNvPr id="3" name="Picture 2" descr="bottom ba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375" y="4781146"/>
            <a:ext cx="8477250" cy="128588"/>
          </a:xfrm>
          <a:prstGeom prst="rect">
            <a:avLst/>
          </a:prstGeom>
        </p:spPr>
      </p:pic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7789662" y="4894570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8650064" y="4891492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51374" y="4895871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958068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-91440" y="-68580"/>
            <a:ext cx="9326880" cy="5280660"/>
          </a:xfrm>
        </p:spPr>
        <p:txBody>
          <a:bodyPr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Full bleed image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44932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  <p:sp>
        <p:nvSpPr>
          <p:cNvPr id="22" name="Rectangle 2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3" cstate="email">
              <a:alphaModFix amt="29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2" name="Group 3"/>
          <p:cNvGrpSpPr/>
          <p:nvPr userDrawn="1"/>
        </p:nvGrpSpPr>
        <p:grpSpPr>
          <a:xfrm>
            <a:off x="341315" y="4593431"/>
            <a:ext cx="787133" cy="312101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40" name="Rectangle 3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3" name="Freeform 4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21" name="Media Placeholder 20"/>
          <p:cNvSpPr>
            <a:spLocks noGrp="1"/>
          </p:cNvSpPr>
          <p:nvPr>
            <p:ph type="media" sz="quarter" idx="10" hasCustomPrompt="1"/>
          </p:nvPr>
        </p:nvSpPr>
        <p:spPr>
          <a:xfrm>
            <a:off x="2845150" y="584002"/>
            <a:ext cx="5971032" cy="3319272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vide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25248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21394" y="2108877"/>
            <a:ext cx="8301718" cy="64473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60446" y="3621023"/>
            <a:ext cx="8112126" cy="288131"/>
          </a:xfrm>
          <a:prstGeom prst="rect">
            <a:avLst/>
          </a:prstGeom>
        </p:spPr>
        <p:txBody>
          <a:bodyPr lIns="91416" tIns="45708" rIns="91416" bIns="45708" anchor="b" anchorCtr="0">
            <a:noAutofit/>
          </a:bodyPr>
          <a:lstStyle>
            <a:lvl1pPr marL="0" indent="0" algn="l">
              <a:buNone/>
              <a:defRPr sz="12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342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59868" y="3873687"/>
            <a:ext cx="8112650" cy="288131"/>
          </a:xfrm>
          <a:prstGeom prst="rect">
            <a:avLst/>
          </a:prstGeom>
        </p:spPr>
        <p:txBody>
          <a:bodyPr lIns="91416" tIns="45708" rIns="91416" bIns="45708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51847" y="4453678"/>
            <a:ext cx="8112650" cy="288131"/>
          </a:xfrm>
          <a:prstGeom prst="rect">
            <a:avLst/>
          </a:prstGeom>
        </p:spPr>
        <p:txBody>
          <a:bodyPr lIns="91416" tIns="45708" rIns="91416" bIns="45708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52579" y="2622503"/>
            <a:ext cx="8302625" cy="299001"/>
          </a:xfrm>
          <a:prstGeom prst="rect">
            <a:avLst/>
          </a:prstGeom>
        </p:spPr>
        <p:txBody>
          <a:bodyPr lIns="91416" tIns="45708" rIns="91416" bIns="45708"/>
          <a:lstStyle>
            <a:lvl1pPr marL="0" indent="0">
              <a:buFont typeface="Arial" panose="020B0604020202020204" pitchFamily="34" charset="0"/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304769" indent="0">
              <a:buNone/>
              <a:defRPr/>
            </a:lvl2pPr>
            <a:lvl3pPr marL="427383" indent="0">
              <a:buNone/>
              <a:defRPr/>
            </a:lvl3pPr>
            <a:lvl4pPr marL="516673" indent="0">
              <a:buNone/>
              <a:defRPr/>
            </a:lvl4pPr>
            <a:lvl5pPr marL="601196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285176" y="307876"/>
            <a:ext cx="862739" cy="459830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1625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9156700" cy="51435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171899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7789662" y="4894570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50064" y="4891492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251374" y="4895871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03200" y="4676775"/>
            <a:ext cx="8686800" cy="4667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0952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266700" y="4695825"/>
            <a:ext cx="8597900" cy="247650"/>
          </a:xfrm>
          <a:prstGeom prst="rect">
            <a:avLst/>
          </a:prstGeom>
          <a:solidFill>
            <a:srgbClr val="08252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6700" cy="5143500"/>
          </a:xfrm>
          <a:prstGeom prst="rect">
            <a:avLst/>
          </a:prstGeom>
          <a:noFill/>
        </p:spPr>
      </p:pic>
      <p:sp>
        <p:nvSpPr>
          <p:cNvPr id="20" name="Rectangle 19"/>
          <p:cNvSpPr>
            <a:spLocks noChangeArrowheads="1"/>
          </p:cNvSpPr>
          <p:nvPr/>
        </p:nvSpPr>
        <p:spPr bwMode="black">
          <a:xfrm>
            <a:off x="4373703" y="4383413"/>
            <a:ext cx="41443" cy="1177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1" name="Freeform 20"/>
          <p:cNvSpPr>
            <a:spLocks/>
          </p:cNvSpPr>
          <p:nvPr/>
        </p:nvSpPr>
        <p:spPr bwMode="black">
          <a:xfrm>
            <a:off x="4615131" y="4380152"/>
            <a:ext cx="119991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2" name="Freeform 21"/>
          <p:cNvSpPr>
            <a:spLocks/>
          </p:cNvSpPr>
          <p:nvPr/>
        </p:nvSpPr>
        <p:spPr bwMode="black">
          <a:xfrm>
            <a:off x="4200222" y="4380152"/>
            <a:ext cx="119991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3" name="Freeform 22"/>
          <p:cNvSpPr>
            <a:spLocks noEditPoints="1"/>
          </p:cNvSpPr>
          <p:nvPr userDrawn="1"/>
        </p:nvSpPr>
        <p:spPr bwMode="black">
          <a:xfrm>
            <a:off x="4778492" y="4380152"/>
            <a:ext cx="164807" cy="124284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4" name="Freeform 23"/>
          <p:cNvSpPr>
            <a:spLocks/>
          </p:cNvSpPr>
          <p:nvPr/>
        </p:nvSpPr>
        <p:spPr bwMode="black">
          <a:xfrm>
            <a:off x="4468634" y="4380152"/>
            <a:ext cx="107462" cy="124284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5" name="Freeform 24"/>
          <p:cNvSpPr>
            <a:spLocks/>
          </p:cNvSpPr>
          <p:nvPr/>
        </p:nvSpPr>
        <p:spPr bwMode="black">
          <a:xfrm>
            <a:off x="4117818" y="4240648"/>
            <a:ext cx="39033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6" name="Freeform 25"/>
          <p:cNvSpPr>
            <a:spLocks/>
          </p:cNvSpPr>
          <p:nvPr/>
        </p:nvSpPr>
        <p:spPr bwMode="black">
          <a:xfrm>
            <a:off x="4227207" y="4200066"/>
            <a:ext cx="39033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7" name="Freeform 26"/>
          <p:cNvSpPr>
            <a:spLocks/>
          </p:cNvSpPr>
          <p:nvPr/>
        </p:nvSpPr>
        <p:spPr bwMode="black">
          <a:xfrm>
            <a:off x="4334670" y="4144266"/>
            <a:ext cx="39033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8" name="Freeform 27"/>
          <p:cNvSpPr>
            <a:spLocks/>
          </p:cNvSpPr>
          <p:nvPr/>
        </p:nvSpPr>
        <p:spPr bwMode="black">
          <a:xfrm>
            <a:off x="4444059" y="4200066"/>
            <a:ext cx="39033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black">
          <a:xfrm>
            <a:off x="4551039" y="4240648"/>
            <a:ext cx="41443" cy="6051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0" name="Freeform 29"/>
          <p:cNvSpPr>
            <a:spLocks/>
          </p:cNvSpPr>
          <p:nvPr/>
        </p:nvSpPr>
        <p:spPr bwMode="black">
          <a:xfrm>
            <a:off x="4660429" y="4200066"/>
            <a:ext cx="39515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1" name="Freeform 30"/>
          <p:cNvSpPr>
            <a:spLocks/>
          </p:cNvSpPr>
          <p:nvPr/>
        </p:nvSpPr>
        <p:spPr bwMode="black">
          <a:xfrm>
            <a:off x="4769819" y="4144266"/>
            <a:ext cx="39515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2" name="Freeform 31"/>
          <p:cNvSpPr>
            <a:spLocks/>
          </p:cNvSpPr>
          <p:nvPr/>
        </p:nvSpPr>
        <p:spPr bwMode="black">
          <a:xfrm>
            <a:off x="4877280" y="4200066"/>
            <a:ext cx="39515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3" name="Freeform 32"/>
          <p:cNvSpPr>
            <a:spLocks/>
          </p:cNvSpPr>
          <p:nvPr/>
        </p:nvSpPr>
        <p:spPr bwMode="black">
          <a:xfrm>
            <a:off x="4986670" y="4240648"/>
            <a:ext cx="39515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295321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4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</p:bld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266700" y="4695825"/>
            <a:ext cx="8597900" cy="247650"/>
          </a:xfrm>
          <a:prstGeom prst="rect">
            <a:avLst/>
          </a:prstGeom>
          <a:solidFill>
            <a:srgbClr val="08252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9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6700" cy="5143500"/>
          </a:xfrm>
          <a:prstGeom prst="rect">
            <a:avLst/>
          </a:prstGeom>
          <a:noFill/>
        </p:spPr>
      </p:pic>
      <p:sp>
        <p:nvSpPr>
          <p:cNvPr id="20" name="Rectangle 19"/>
          <p:cNvSpPr>
            <a:spLocks noChangeArrowheads="1"/>
          </p:cNvSpPr>
          <p:nvPr userDrawn="1"/>
        </p:nvSpPr>
        <p:spPr bwMode="black">
          <a:xfrm>
            <a:off x="6312989" y="2781453"/>
            <a:ext cx="116616" cy="33137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1" name="Freeform 20"/>
          <p:cNvSpPr>
            <a:spLocks/>
          </p:cNvSpPr>
          <p:nvPr/>
        </p:nvSpPr>
        <p:spPr bwMode="black">
          <a:xfrm>
            <a:off x="6992342" y="2773204"/>
            <a:ext cx="337642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2" name="Freeform 21"/>
          <p:cNvSpPr>
            <a:spLocks/>
          </p:cNvSpPr>
          <p:nvPr/>
        </p:nvSpPr>
        <p:spPr bwMode="black">
          <a:xfrm>
            <a:off x="5824831" y="2773204"/>
            <a:ext cx="337642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3" name="Freeform 22"/>
          <p:cNvSpPr>
            <a:spLocks noEditPoints="1"/>
          </p:cNvSpPr>
          <p:nvPr/>
        </p:nvSpPr>
        <p:spPr bwMode="black">
          <a:xfrm>
            <a:off x="7452023" y="2773204"/>
            <a:ext cx="463750" cy="349723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4" name="Freeform 23"/>
          <p:cNvSpPr>
            <a:spLocks/>
          </p:cNvSpPr>
          <p:nvPr/>
        </p:nvSpPr>
        <p:spPr bwMode="black">
          <a:xfrm>
            <a:off x="6580118" y="2773204"/>
            <a:ext cx="302387" cy="349723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5" name="Freeform 24"/>
          <p:cNvSpPr>
            <a:spLocks/>
          </p:cNvSpPr>
          <p:nvPr/>
        </p:nvSpPr>
        <p:spPr bwMode="black">
          <a:xfrm>
            <a:off x="5592956" y="2311830"/>
            <a:ext cx="109835" cy="170274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6" name="Freeform 25"/>
          <p:cNvSpPr>
            <a:spLocks/>
          </p:cNvSpPr>
          <p:nvPr/>
        </p:nvSpPr>
        <p:spPr bwMode="black">
          <a:xfrm>
            <a:off x="5900765" y="2197636"/>
            <a:ext cx="109835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7" name="Freeform 26"/>
          <p:cNvSpPr>
            <a:spLocks/>
          </p:cNvSpPr>
          <p:nvPr/>
        </p:nvSpPr>
        <p:spPr bwMode="black">
          <a:xfrm>
            <a:off x="6203155" y="2040617"/>
            <a:ext cx="109835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8" name="Freeform 27"/>
          <p:cNvSpPr>
            <a:spLocks/>
          </p:cNvSpPr>
          <p:nvPr/>
        </p:nvSpPr>
        <p:spPr bwMode="black">
          <a:xfrm>
            <a:off x="6510964" y="2197636"/>
            <a:ext cx="109835" cy="28446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black">
          <a:xfrm>
            <a:off x="6811994" y="2311831"/>
            <a:ext cx="116616" cy="17027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0" name="Freeform 29"/>
          <p:cNvSpPr>
            <a:spLocks/>
          </p:cNvSpPr>
          <p:nvPr/>
        </p:nvSpPr>
        <p:spPr bwMode="black">
          <a:xfrm>
            <a:off x="7119807" y="2197636"/>
            <a:ext cx="111191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1" name="Freeform 30"/>
          <p:cNvSpPr>
            <a:spLocks/>
          </p:cNvSpPr>
          <p:nvPr/>
        </p:nvSpPr>
        <p:spPr bwMode="black">
          <a:xfrm>
            <a:off x="7427619" y="2040617"/>
            <a:ext cx="111191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2" name="Freeform 31"/>
          <p:cNvSpPr>
            <a:spLocks/>
          </p:cNvSpPr>
          <p:nvPr/>
        </p:nvSpPr>
        <p:spPr bwMode="black">
          <a:xfrm>
            <a:off x="7730003" y="2197636"/>
            <a:ext cx="111191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3" name="Freeform 32"/>
          <p:cNvSpPr>
            <a:spLocks/>
          </p:cNvSpPr>
          <p:nvPr/>
        </p:nvSpPr>
        <p:spPr bwMode="black">
          <a:xfrm>
            <a:off x="8037815" y="2311831"/>
            <a:ext cx="111191" cy="17027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644691" y="2295367"/>
            <a:ext cx="24686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3600" dirty="0" smtClean="0">
                <a:solidFill>
                  <a:srgbClr val="FFFFFF"/>
                </a:solidFill>
                <a:latin typeface="Arial"/>
              </a:rPr>
              <a:t>Thank you.</a:t>
            </a:r>
            <a:endParaRPr lang="en-US" sz="36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894192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200"/>
                            </p:stCondLst>
                            <p:childTnLst>
                              <p:par>
                                <p:cTn id="13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5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7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9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  <p:bldP spid="34" grpId="0"/>
    </p:bld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Complex_Gradient7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Rectangle 3"/>
          <p:cNvSpPr>
            <a:spLocks noChangeArrowheads="1"/>
          </p:cNvSpPr>
          <p:nvPr/>
        </p:nvSpPr>
        <p:spPr bwMode="black">
          <a:xfrm>
            <a:off x="4373703" y="4383413"/>
            <a:ext cx="41443" cy="1177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black">
          <a:xfrm>
            <a:off x="4615131" y="4380152"/>
            <a:ext cx="119991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6" name="Freeform 5"/>
          <p:cNvSpPr>
            <a:spLocks/>
          </p:cNvSpPr>
          <p:nvPr/>
        </p:nvSpPr>
        <p:spPr bwMode="black">
          <a:xfrm>
            <a:off x="4200222" y="4380152"/>
            <a:ext cx="119991" cy="124284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7" name="Freeform 6"/>
          <p:cNvSpPr>
            <a:spLocks noEditPoints="1"/>
          </p:cNvSpPr>
          <p:nvPr userDrawn="1"/>
        </p:nvSpPr>
        <p:spPr bwMode="black">
          <a:xfrm>
            <a:off x="4778492" y="4380152"/>
            <a:ext cx="164807" cy="124284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black">
          <a:xfrm>
            <a:off x="4468634" y="4380152"/>
            <a:ext cx="107462" cy="124284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black">
          <a:xfrm>
            <a:off x="4117818" y="4240648"/>
            <a:ext cx="39033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10" name="Freeform 9"/>
          <p:cNvSpPr>
            <a:spLocks/>
          </p:cNvSpPr>
          <p:nvPr/>
        </p:nvSpPr>
        <p:spPr bwMode="black">
          <a:xfrm>
            <a:off x="4227207" y="4200066"/>
            <a:ext cx="39033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black">
          <a:xfrm>
            <a:off x="4334670" y="4144266"/>
            <a:ext cx="39033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12" name="Freeform 11"/>
          <p:cNvSpPr>
            <a:spLocks/>
          </p:cNvSpPr>
          <p:nvPr/>
        </p:nvSpPr>
        <p:spPr bwMode="black">
          <a:xfrm>
            <a:off x="4444059" y="4200066"/>
            <a:ext cx="39033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14" name="Freeform 13"/>
          <p:cNvSpPr>
            <a:spLocks/>
          </p:cNvSpPr>
          <p:nvPr/>
        </p:nvSpPr>
        <p:spPr bwMode="black">
          <a:xfrm>
            <a:off x="4551039" y="4240648"/>
            <a:ext cx="41443" cy="6051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15" name="Freeform 14"/>
          <p:cNvSpPr>
            <a:spLocks/>
          </p:cNvSpPr>
          <p:nvPr/>
        </p:nvSpPr>
        <p:spPr bwMode="black">
          <a:xfrm>
            <a:off x="4660429" y="4200066"/>
            <a:ext cx="39515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16" name="Freeform 15"/>
          <p:cNvSpPr>
            <a:spLocks/>
          </p:cNvSpPr>
          <p:nvPr/>
        </p:nvSpPr>
        <p:spPr bwMode="black">
          <a:xfrm>
            <a:off x="4769819" y="4144266"/>
            <a:ext cx="39515" cy="18624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black">
          <a:xfrm>
            <a:off x="4877280" y="4200066"/>
            <a:ext cx="39515" cy="10109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18" name="Freeform 17"/>
          <p:cNvSpPr>
            <a:spLocks/>
          </p:cNvSpPr>
          <p:nvPr/>
        </p:nvSpPr>
        <p:spPr bwMode="black">
          <a:xfrm>
            <a:off x="4986670" y="4240648"/>
            <a:ext cx="39515" cy="6051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51796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4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</p:bld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Complex_Gradient7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4" name="TextBox 33"/>
          <p:cNvSpPr txBox="1"/>
          <p:nvPr userDrawn="1"/>
        </p:nvSpPr>
        <p:spPr>
          <a:xfrm>
            <a:off x="644691" y="2295367"/>
            <a:ext cx="24686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3600" dirty="0" smtClean="0">
                <a:solidFill>
                  <a:srgbClr val="FFFFFF"/>
                </a:solidFill>
                <a:latin typeface="Arial"/>
              </a:rPr>
              <a:t>Thank you.</a:t>
            </a:r>
            <a:endParaRPr lang="en-US" sz="3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black">
          <a:xfrm>
            <a:off x="6312989" y="2781453"/>
            <a:ext cx="116616" cy="33137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5" name="Freeform 34"/>
          <p:cNvSpPr>
            <a:spLocks/>
          </p:cNvSpPr>
          <p:nvPr/>
        </p:nvSpPr>
        <p:spPr bwMode="black">
          <a:xfrm>
            <a:off x="6992342" y="2773204"/>
            <a:ext cx="337642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6" name="Freeform 35"/>
          <p:cNvSpPr>
            <a:spLocks/>
          </p:cNvSpPr>
          <p:nvPr userDrawn="1"/>
        </p:nvSpPr>
        <p:spPr bwMode="black">
          <a:xfrm>
            <a:off x="5824831" y="2773204"/>
            <a:ext cx="337642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7" name="Freeform 36"/>
          <p:cNvSpPr>
            <a:spLocks noEditPoints="1"/>
          </p:cNvSpPr>
          <p:nvPr/>
        </p:nvSpPr>
        <p:spPr bwMode="black">
          <a:xfrm>
            <a:off x="7452023" y="2773204"/>
            <a:ext cx="463750" cy="349723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8" name="Freeform 37"/>
          <p:cNvSpPr>
            <a:spLocks/>
          </p:cNvSpPr>
          <p:nvPr/>
        </p:nvSpPr>
        <p:spPr bwMode="black">
          <a:xfrm>
            <a:off x="6580118" y="2773204"/>
            <a:ext cx="302387" cy="349723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39" name="Freeform 38"/>
          <p:cNvSpPr>
            <a:spLocks/>
          </p:cNvSpPr>
          <p:nvPr/>
        </p:nvSpPr>
        <p:spPr bwMode="black">
          <a:xfrm>
            <a:off x="5592956" y="2311830"/>
            <a:ext cx="109835" cy="170274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0" name="Freeform 39"/>
          <p:cNvSpPr>
            <a:spLocks/>
          </p:cNvSpPr>
          <p:nvPr/>
        </p:nvSpPr>
        <p:spPr bwMode="black">
          <a:xfrm>
            <a:off x="5900765" y="2197636"/>
            <a:ext cx="109835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1" name="Freeform 40"/>
          <p:cNvSpPr>
            <a:spLocks/>
          </p:cNvSpPr>
          <p:nvPr/>
        </p:nvSpPr>
        <p:spPr bwMode="black">
          <a:xfrm>
            <a:off x="6203155" y="2040617"/>
            <a:ext cx="109835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2" name="Freeform 41"/>
          <p:cNvSpPr>
            <a:spLocks/>
          </p:cNvSpPr>
          <p:nvPr/>
        </p:nvSpPr>
        <p:spPr bwMode="black">
          <a:xfrm>
            <a:off x="6510964" y="2197636"/>
            <a:ext cx="109835" cy="28446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3" name="Freeform 42"/>
          <p:cNvSpPr>
            <a:spLocks/>
          </p:cNvSpPr>
          <p:nvPr/>
        </p:nvSpPr>
        <p:spPr bwMode="black">
          <a:xfrm>
            <a:off x="6811994" y="2311831"/>
            <a:ext cx="116616" cy="17027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4" name="Freeform 43"/>
          <p:cNvSpPr>
            <a:spLocks/>
          </p:cNvSpPr>
          <p:nvPr/>
        </p:nvSpPr>
        <p:spPr bwMode="black">
          <a:xfrm>
            <a:off x="7119807" y="2197636"/>
            <a:ext cx="111191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5" name="Freeform 44"/>
          <p:cNvSpPr>
            <a:spLocks/>
          </p:cNvSpPr>
          <p:nvPr/>
        </p:nvSpPr>
        <p:spPr bwMode="black">
          <a:xfrm>
            <a:off x="7427619" y="2040617"/>
            <a:ext cx="111191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6" name="Freeform 45"/>
          <p:cNvSpPr>
            <a:spLocks/>
          </p:cNvSpPr>
          <p:nvPr/>
        </p:nvSpPr>
        <p:spPr bwMode="black">
          <a:xfrm>
            <a:off x="7730003" y="2197636"/>
            <a:ext cx="111191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  <p:sp>
        <p:nvSpPr>
          <p:cNvPr id="47" name="Freeform 46"/>
          <p:cNvSpPr>
            <a:spLocks/>
          </p:cNvSpPr>
          <p:nvPr/>
        </p:nvSpPr>
        <p:spPr bwMode="black">
          <a:xfrm>
            <a:off x="8037815" y="2311831"/>
            <a:ext cx="111191" cy="17027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>
              <a:solidFill>
                <a:srgbClr val="0096D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2643481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200"/>
                            </p:stCondLst>
                            <p:childTnLst>
                              <p:par>
                                <p:cTn id="13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5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7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9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7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7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36" grpId="0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</p:bld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978" name="Rectangle 2"/>
          <p:cNvSpPr>
            <a:spLocks noChangeArrowheads="1"/>
          </p:cNvSpPr>
          <p:nvPr/>
        </p:nvSpPr>
        <p:spPr bwMode="auto">
          <a:xfrm>
            <a:off x="0" y="2070319"/>
            <a:ext cx="9144000" cy="359923"/>
          </a:xfrm>
          <a:prstGeom prst="rect">
            <a:avLst/>
          </a:prstGeom>
          <a:solidFill>
            <a:srgbClr val="015F85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82124" tIns="41061" rIns="82124" bIns="41061" anchor="ctr">
            <a:spAutoFit/>
          </a:bodyPr>
          <a:lstStyle/>
          <a:p>
            <a:pPr defTabSz="914400"/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022979" name="Rectangle 3"/>
          <p:cNvSpPr>
            <a:spLocks noChangeArrowheads="1"/>
          </p:cNvSpPr>
          <p:nvPr/>
        </p:nvSpPr>
        <p:spPr bwMode="auto">
          <a:xfrm>
            <a:off x="1150939" y="4955236"/>
            <a:ext cx="2038159" cy="19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/>
            <a:r>
              <a:rPr lang="en-US" sz="700" dirty="0">
                <a:solidFill>
                  <a:srgbClr val="D3D3D3"/>
                </a:solidFill>
                <a:latin typeface="Arial"/>
              </a:rPr>
              <a:t>© </a:t>
            </a:r>
            <a:r>
              <a:rPr lang="en-US" sz="700" dirty="0" smtClean="0">
                <a:solidFill>
                  <a:srgbClr val="D3D3D3"/>
                </a:solidFill>
                <a:latin typeface="Arial"/>
              </a:rPr>
              <a:t>2009 Cisco </a:t>
            </a:r>
            <a:r>
              <a:rPr lang="en-US" sz="700" dirty="0">
                <a:solidFill>
                  <a:srgbClr val="D3D3D3"/>
                </a:solidFill>
                <a:latin typeface="Arial"/>
              </a:rPr>
              <a:t>Systems, Inc. All rights reserved.</a:t>
            </a:r>
          </a:p>
        </p:txBody>
      </p:sp>
      <p:sp>
        <p:nvSpPr>
          <p:cNvPr id="1022980" name="Rectangle 4"/>
          <p:cNvSpPr>
            <a:spLocks noChangeArrowheads="1"/>
          </p:cNvSpPr>
          <p:nvPr/>
        </p:nvSpPr>
        <p:spPr bwMode="auto">
          <a:xfrm>
            <a:off x="3161956" y="4955235"/>
            <a:ext cx="889345" cy="19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700" dirty="0">
                <a:solidFill>
                  <a:srgbClr val="D3D3D3"/>
                </a:solidFill>
                <a:latin typeface="Arial"/>
              </a:rPr>
              <a:t>Cisco Confidential</a:t>
            </a:r>
          </a:p>
        </p:txBody>
      </p:sp>
      <p:sp>
        <p:nvSpPr>
          <p:cNvPr id="1022981" name="Rectangle 5"/>
          <p:cNvSpPr>
            <a:spLocks noChangeArrowheads="1"/>
          </p:cNvSpPr>
          <p:nvPr/>
        </p:nvSpPr>
        <p:spPr bwMode="auto">
          <a:xfrm>
            <a:off x="8594406" y="4909070"/>
            <a:ext cx="322583" cy="236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0B12141D-B3EB-4C36-B24A-48D9037DBB26}" type="slidenum">
              <a:rPr lang="en-US" sz="1000">
                <a:solidFill>
                  <a:srgbClr val="D3D3D3"/>
                </a:solidFill>
                <a:latin typeface="Arial"/>
              </a:rPr>
              <a:pPr algn="r" defTabSz="814388"/>
              <a:t>‹#›</a:t>
            </a:fld>
            <a:endParaRPr lang="en-US" sz="1000" dirty="0">
              <a:solidFill>
                <a:srgbClr val="D3D3D3"/>
              </a:solidFill>
              <a:latin typeface="Arial"/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09600" y="394098"/>
            <a:ext cx="1447800" cy="577453"/>
            <a:chOff x="3272" y="1316"/>
            <a:chExt cx="1889" cy="1002"/>
          </a:xfrm>
        </p:grpSpPr>
        <p:sp>
          <p:nvSpPr>
            <p:cNvPr id="1022983" name="AutoShape 7"/>
            <p:cNvSpPr>
              <a:spLocks noChangeAspect="1" noChangeArrowheads="1" noTextEdit="1"/>
            </p:cNvSpPr>
            <p:nvPr/>
          </p:nvSpPr>
          <p:spPr bwMode="auto">
            <a:xfrm>
              <a:off x="3272" y="1316"/>
              <a:ext cx="1889" cy="10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84" name="Rectangle 8"/>
            <p:cNvSpPr>
              <a:spLocks noChangeArrowheads="1"/>
            </p:cNvSpPr>
            <p:nvPr/>
          </p:nvSpPr>
          <p:spPr bwMode="auto">
            <a:xfrm>
              <a:off x="3803" y="1980"/>
              <a:ext cx="86" cy="325"/>
            </a:xfrm>
            <a:prstGeom prst="rect">
              <a:avLst/>
            </a:prstGeom>
            <a:solidFill>
              <a:srgbClr val="B21A1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85" name="Freeform 9"/>
            <p:cNvSpPr>
              <a:spLocks/>
            </p:cNvSpPr>
            <p:nvPr/>
          </p:nvSpPr>
          <p:spPr bwMode="auto">
            <a:xfrm>
              <a:off x="4304" y="1971"/>
              <a:ext cx="249" cy="343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B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86" name="Freeform 10"/>
            <p:cNvSpPr>
              <a:spLocks/>
            </p:cNvSpPr>
            <p:nvPr/>
          </p:nvSpPr>
          <p:spPr bwMode="auto">
            <a:xfrm>
              <a:off x="3443" y="1971"/>
              <a:ext cx="249" cy="343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B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87" name="Freeform 11"/>
            <p:cNvSpPr>
              <a:spLocks noEditPoints="1"/>
            </p:cNvSpPr>
            <p:nvPr/>
          </p:nvSpPr>
          <p:spPr bwMode="auto">
            <a:xfrm>
              <a:off x="4643" y="1971"/>
              <a:ext cx="342" cy="343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B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88" name="Freeform 12"/>
            <p:cNvSpPr>
              <a:spLocks/>
            </p:cNvSpPr>
            <p:nvPr/>
          </p:nvSpPr>
          <p:spPr bwMode="auto">
            <a:xfrm>
              <a:off x="4000" y="1971"/>
              <a:ext cx="223" cy="343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B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89" name="Freeform 13"/>
            <p:cNvSpPr>
              <a:spLocks/>
            </p:cNvSpPr>
            <p:nvPr/>
          </p:nvSpPr>
          <p:spPr bwMode="auto">
            <a:xfrm>
              <a:off x="3272" y="1586"/>
              <a:ext cx="81" cy="167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90" name="Freeform 14"/>
            <p:cNvSpPr>
              <a:spLocks/>
            </p:cNvSpPr>
            <p:nvPr/>
          </p:nvSpPr>
          <p:spPr bwMode="auto">
            <a:xfrm>
              <a:off x="3499" y="1474"/>
              <a:ext cx="81" cy="27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91" name="Freeform 15"/>
            <p:cNvSpPr>
              <a:spLocks/>
            </p:cNvSpPr>
            <p:nvPr/>
          </p:nvSpPr>
          <p:spPr bwMode="auto">
            <a:xfrm>
              <a:off x="3722" y="1320"/>
              <a:ext cx="81" cy="51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92" name="Freeform 16"/>
            <p:cNvSpPr>
              <a:spLocks/>
            </p:cNvSpPr>
            <p:nvPr/>
          </p:nvSpPr>
          <p:spPr bwMode="auto">
            <a:xfrm>
              <a:off x="3949" y="1474"/>
              <a:ext cx="81" cy="27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93" name="Freeform 17"/>
            <p:cNvSpPr>
              <a:spLocks/>
            </p:cNvSpPr>
            <p:nvPr/>
          </p:nvSpPr>
          <p:spPr bwMode="auto">
            <a:xfrm>
              <a:off x="4171" y="1586"/>
              <a:ext cx="86" cy="167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94" name="Freeform 18"/>
            <p:cNvSpPr>
              <a:spLocks/>
            </p:cNvSpPr>
            <p:nvPr/>
          </p:nvSpPr>
          <p:spPr bwMode="auto">
            <a:xfrm>
              <a:off x="4398" y="1474"/>
              <a:ext cx="82" cy="27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95" name="Freeform 19"/>
            <p:cNvSpPr>
              <a:spLocks/>
            </p:cNvSpPr>
            <p:nvPr/>
          </p:nvSpPr>
          <p:spPr bwMode="auto">
            <a:xfrm>
              <a:off x="4625" y="1320"/>
              <a:ext cx="82" cy="51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96" name="Freeform 20"/>
            <p:cNvSpPr>
              <a:spLocks/>
            </p:cNvSpPr>
            <p:nvPr/>
          </p:nvSpPr>
          <p:spPr bwMode="auto">
            <a:xfrm>
              <a:off x="4848" y="1474"/>
              <a:ext cx="82" cy="27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2997" name="Freeform 21"/>
            <p:cNvSpPr>
              <a:spLocks/>
            </p:cNvSpPr>
            <p:nvPr/>
          </p:nvSpPr>
          <p:spPr bwMode="auto">
            <a:xfrm>
              <a:off x="5075" y="1586"/>
              <a:ext cx="82" cy="167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/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1022998" name="Rectangle 22"/>
          <p:cNvSpPr>
            <a:spLocks noGrp="1" noChangeArrowheads="1"/>
          </p:cNvSpPr>
          <p:nvPr>
            <p:ph type="ctrTitle"/>
          </p:nvPr>
        </p:nvSpPr>
        <p:spPr bwMode="white">
          <a:xfrm>
            <a:off x="650876" y="2007394"/>
            <a:ext cx="3768725" cy="622697"/>
          </a:xfrm>
          <a:ln/>
        </p:spPr>
        <p:txBody>
          <a:bodyPr anchor="ctr"/>
          <a:lstStyle>
            <a:lvl1pPr>
              <a:defRPr sz="3000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22999" name="Rectangle 23"/>
          <p:cNvSpPr>
            <a:spLocks noGrp="1" noChangeArrowheads="1"/>
          </p:cNvSpPr>
          <p:nvPr>
            <p:ph type="subTitle" idx="1"/>
          </p:nvPr>
        </p:nvSpPr>
        <p:spPr>
          <a:xfrm>
            <a:off x="650876" y="3550444"/>
            <a:ext cx="7121525" cy="1193006"/>
          </a:xfrm>
          <a:ln/>
        </p:spPr>
        <p:txBody>
          <a:bodyPr/>
          <a:lstStyle>
            <a:lvl1pPr marL="0" indent="0">
              <a:lnSpc>
                <a:spcPct val="90000"/>
              </a:lnSpc>
              <a:spcBef>
                <a:spcPct val="10000"/>
              </a:spcBef>
              <a:buFont typeface="Wingdings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05603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38" y="228600"/>
            <a:ext cx="8145462" cy="6286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55639" y="1140619"/>
            <a:ext cx="7940675" cy="267890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770949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ChangeArrowheads="1"/>
          </p:cNvSpPr>
          <p:nvPr/>
        </p:nvSpPr>
        <p:spPr bwMode="ltGray">
          <a:xfrm>
            <a:off x="8594406" y="4909070"/>
            <a:ext cx="322583" cy="236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defRPr/>
            </a:pPr>
            <a:fld id="{3938E217-2570-4DBA-9D91-030EC3997E8C}" type="slidenum">
              <a:rPr lang="en-US" sz="1000">
                <a:solidFill>
                  <a:srgbClr val="8E8E95"/>
                </a:solidFill>
                <a:latin typeface="Arial"/>
              </a:rPr>
              <a:pPr algn="r" defTabSz="814388">
                <a:defRPr/>
              </a:pPr>
              <a:t>‹#›</a:t>
            </a:fld>
            <a:endParaRPr lang="en-US" sz="1000" dirty="0">
              <a:solidFill>
                <a:srgbClr val="8E8E95"/>
              </a:solidFill>
              <a:latin typeface="Arial"/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8594406" y="4909070"/>
            <a:ext cx="322583" cy="236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defRPr/>
            </a:pPr>
            <a:fld id="{FD90B7FB-BBAA-46A4-A91D-40A43F601509}" type="slidenum">
              <a:rPr lang="en-US" sz="1000">
                <a:solidFill>
                  <a:srgbClr val="8E8E95"/>
                </a:solidFill>
                <a:latin typeface="Arial"/>
              </a:rPr>
              <a:pPr algn="r" defTabSz="814388">
                <a:defRPr/>
              </a:pPr>
              <a:t>‹#›</a:t>
            </a:fld>
            <a:endParaRPr lang="en-US" sz="1000" dirty="0">
              <a:solidFill>
                <a:srgbClr val="8E8E95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752" y="228600"/>
            <a:ext cx="7435849" cy="6286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93752" y="889907"/>
            <a:ext cx="7435849" cy="285750"/>
          </a:xfrm>
        </p:spPr>
        <p:txBody>
          <a:bodyPr anchor="ctr">
            <a:noAutofit/>
          </a:bodyPr>
          <a:lstStyle>
            <a:lvl1pPr>
              <a:buFontTx/>
              <a:buNone/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793750" y="4702374"/>
            <a:ext cx="7461250" cy="307777"/>
          </a:xfrm>
        </p:spPr>
        <p:txBody>
          <a:bodyPr anchor="b">
            <a:sp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400"/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48859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1165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1165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8" name="Group 67"/>
          <p:cNvGrpSpPr/>
          <p:nvPr userDrawn="1"/>
        </p:nvGrpSpPr>
        <p:grpSpPr>
          <a:xfrm>
            <a:off x="271539" y="230905"/>
            <a:ext cx="821520" cy="344873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9" name="Rectangle 38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793608"/>
              <a:endParaRPr lang="en-US" sz="16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793608"/>
              <a:endParaRPr lang="en-US" sz="16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793608"/>
              <a:endParaRPr lang="en-US" sz="16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2" name="Freeform 41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793608"/>
              <a:endParaRPr lang="en-US" sz="16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793608"/>
              <a:endParaRPr lang="en-US" sz="16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793608"/>
              <a:endParaRPr lang="en-US" sz="16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793608"/>
              <a:endParaRPr lang="en-US" sz="16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793608"/>
              <a:endParaRPr lang="en-US" sz="16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793608"/>
              <a:endParaRPr lang="en-US" sz="16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793608"/>
              <a:endParaRPr lang="en-US" sz="16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793608"/>
              <a:endParaRPr lang="en-US" sz="16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793608"/>
              <a:endParaRPr lang="en-US" sz="16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793608"/>
              <a:endParaRPr lang="en-US" sz="16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793608"/>
              <a:endParaRPr lang="en-US" sz="16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24379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21394" y="2108877"/>
            <a:ext cx="8301718" cy="64473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60446" y="3621023"/>
            <a:ext cx="8112126" cy="288131"/>
          </a:xfrm>
          <a:prstGeom prst="rect">
            <a:avLst/>
          </a:prstGeom>
        </p:spPr>
        <p:txBody>
          <a:bodyPr lIns="91416" tIns="45708" rIns="91416" bIns="45708" anchor="b" anchorCtr="0">
            <a:noAutofit/>
          </a:bodyPr>
          <a:lstStyle>
            <a:lvl1pPr marL="0" indent="0" algn="l">
              <a:buNone/>
              <a:defRPr sz="12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342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59868" y="3873687"/>
            <a:ext cx="8112650" cy="288131"/>
          </a:xfrm>
          <a:prstGeom prst="rect">
            <a:avLst/>
          </a:prstGeom>
        </p:spPr>
        <p:txBody>
          <a:bodyPr lIns="91416" tIns="45708" rIns="91416" bIns="45708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51847" y="4453678"/>
            <a:ext cx="8112650" cy="288131"/>
          </a:xfrm>
          <a:prstGeom prst="rect">
            <a:avLst/>
          </a:prstGeom>
        </p:spPr>
        <p:txBody>
          <a:bodyPr lIns="91416" tIns="45708" rIns="91416" bIns="45708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52579" y="2622503"/>
            <a:ext cx="8302625" cy="299001"/>
          </a:xfrm>
          <a:prstGeom prst="rect">
            <a:avLst/>
          </a:prstGeom>
        </p:spPr>
        <p:txBody>
          <a:bodyPr lIns="91416" tIns="45708" rIns="91416" bIns="45708"/>
          <a:lstStyle>
            <a:lvl1pPr marL="0" indent="0">
              <a:buFont typeface="Arial" panose="020B0604020202020204" pitchFamily="34" charset="0"/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304769" indent="0">
              <a:buNone/>
              <a:defRPr/>
            </a:lvl2pPr>
            <a:lvl3pPr marL="427383" indent="0">
              <a:buNone/>
              <a:defRPr/>
            </a:lvl3pPr>
            <a:lvl4pPr marL="516673" indent="0">
              <a:buNone/>
              <a:defRPr/>
            </a:lvl4pPr>
            <a:lvl5pPr marL="601196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285176" y="307876"/>
            <a:ext cx="862739" cy="459830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308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356" y="141972"/>
            <a:ext cx="8275203" cy="623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35356" y="1131300"/>
            <a:ext cx="8275203" cy="3461400"/>
          </a:xfrm>
        </p:spPr>
        <p:txBody>
          <a:bodyPr/>
          <a:lstStyle>
            <a:lvl2pPr>
              <a:buSzPct val="80000"/>
              <a:defRPr/>
            </a:lvl2pPr>
            <a:lvl3pPr>
              <a:buSzPct val="80000"/>
              <a:defRPr/>
            </a:lvl3pPr>
            <a:lvl4pPr>
              <a:buSzPct val="80000"/>
              <a:defRPr/>
            </a:lvl4pPr>
            <a:lvl5pPr>
              <a:buSzPct val="80000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66369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66761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244289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1165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1165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272848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361" tIns="39680" rIns="79361" bIns="39680" rtlCol="0" anchor="ctr" anchorCtr="1"/>
          <a:lstStyle/>
          <a:p>
            <a:pPr algn="ctr" defTabSz="793608"/>
            <a:endParaRPr lang="en-US" sz="1000" dirty="0" smtClean="0">
              <a:solidFill>
                <a:srgbClr val="FFFFFF"/>
              </a:solidFill>
              <a:latin typeface="CiscoSansTT Ligh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596218" y="2300013"/>
            <a:ext cx="2127031" cy="557189"/>
          </a:xfrm>
          <a:prstGeom prst="rect">
            <a:avLst/>
          </a:prstGeom>
          <a:noFill/>
          <a:ln>
            <a:noFill/>
          </a:ln>
        </p:spPr>
        <p:txBody>
          <a:bodyPr wrap="none" lIns="79361" tIns="39680" rIns="79361" bIns="39680" rtlCol="0">
            <a:spAutoFit/>
          </a:bodyPr>
          <a:lstStyle/>
          <a:p>
            <a:pPr defTabSz="793608"/>
            <a:r>
              <a:rPr lang="en-US" sz="3100" dirty="0" smtClean="0">
                <a:solidFill>
                  <a:srgbClr val="FFFFFF"/>
                </a:solidFill>
                <a:latin typeface="CiscoSansTT ExtraLight"/>
              </a:rPr>
              <a:t>Thank you.</a:t>
            </a:r>
            <a:endParaRPr lang="en-US" sz="3100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0" name="Rectangle 19"/>
          <p:cNvSpPr>
            <a:spLocks noChangeArrowheads="1"/>
          </p:cNvSpPr>
          <p:nvPr userDrawn="1"/>
        </p:nvSpPr>
        <p:spPr bwMode="black">
          <a:xfrm>
            <a:off x="6024645" y="2632523"/>
            <a:ext cx="111044" cy="33137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79361" tIns="39680" rIns="79361" bIns="39680"/>
          <a:lstStyle/>
          <a:p>
            <a:pPr defTabSz="793608"/>
            <a:endParaRPr lang="en-US" sz="16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black">
          <a:xfrm>
            <a:off x="6671540" y="2624274"/>
            <a:ext cx="321511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79361" tIns="39680" rIns="79361" bIns="39680"/>
          <a:lstStyle/>
          <a:p>
            <a:pPr defTabSz="793608"/>
            <a:endParaRPr lang="en-US" sz="16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5559809" y="2624274"/>
            <a:ext cx="321511" cy="349723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79361" tIns="39680" rIns="79361" bIns="39680"/>
          <a:lstStyle/>
          <a:p>
            <a:pPr defTabSz="793608"/>
            <a:endParaRPr lang="en-US" sz="16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 noEditPoints="1"/>
          </p:cNvSpPr>
          <p:nvPr userDrawn="1"/>
        </p:nvSpPr>
        <p:spPr bwMode="black">
          <a:xfrm>
            <a:off x="7109259" y="2624274"/>
            <a:ext cx="441594" cy="349723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79361" tIns="39680" rIns="79361" bIns="39680"/>
          <a:lstStyle/>
          <a:p>
            <a:pPr defTabSz="793608"/>
            <a:endParaRPr lang="en-US" sz="16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4" name="Freeform 23"/>
          <p:cNvSpPr>
            <a:spLocks/>
          </p:cNvSpPr>
          <p:nvPr userDrawn="1"/>
        </p:nvSpPr>
        <p:spPr bwMode="black">
          <a:xfrm>
            <a:off x="6279011" y="2624274"/>
            <a:ext cx="287940" cy="349723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79361" tIns="39680" rIns="79361" bIns="39680"/>
          <a:lstStyle/>
          <a:p>
            <a:pPr defTabSz="793608"/>
            <a:endParaRPr lang="en-US" sz="16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5" name="Freeform 24"/>
          <p:cNvSpPr>
            <a:spLocks/>
          </p:cNvSpPr>
          <p:nvPr userDrawn="1"/>
        </p:nvSpPr>
        <p:spPr bwMode="black">
          <a:xfrm>
            <a:off x="5339012" y="2162900"/>
            <a:ext cx="104587" cy="170274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79361" tIns="39680" rIns="79361" bIns="39680"/>
          <a:lstStyle/>
          <a:p>
            <a:pPr defTabSz="793608"/>
            <a:endParaRPr lang="en-US" sz="16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6" name="Freeform 25"/>
          <p:cNvSpPr>
            <a:spLocks/>
          </p:cNvSpPr>
          <p:nvPr userDrawn="1"/>
        </p:nvSpPr>
        <p:spPr bwMode="black">
          <a:xfrm>
            <a:off x="5632115" y="2048706"/>
            <a:ext cx="104587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79361" tIns="39680" rIns="79361" bIns="39680"/>
          <a:lstStyle/>
          <a:p>
            <a:pPr defTabSz="793608"/>
            <a:endParaRPr lang="en-US" sz="16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7" name="Freeform 26"/>
          <p:cNvSpPr>
            <a:spLocks/>
          </p:cNvSpPr>
          <p:nvPr userDrawn="1"/>
        </p:nvSpPr>
        <p:spPr bwMode="black">
          <a:xfrm>
            <a:off x="5920058" y="1891687"/>
            <a:ext cx="104587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79361" tIns="39680" rIns="79361" bIns="39680"/>
          <a:lstStyle/>
          <a:p>
            <a:pPr defTabSz="793608"/>
            <a:endParaRPr lang="en-US" sz="16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8" name="Freeform 27"/>
          <p:cNvSpPr>
            <a:spLocks/>
          </p:cNvSpPr>
          <p:nvPr userDrawn="1"/>
        </p:nvSpPr>
        <p:spPr bwMode="black">
          <a:xfrm>
            <a:off x="6213161" y="2048706"/>
            <a:ext cx="104587" cy="28446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79361" tIns="39680" rIns="79361" bIns="39680"/>
          <a:lstStyle/>
          <a:p>
            <a:pPr defTabSz="793608"/>
            <a:endParaRPr lang="en-US" sz="16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black">
          <a:xfrm>
            <a:off x="6499809" y="2162901"/>
            <a:ext cx="111044" cy="17027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79361" tIns="39680" rIns="79361" bIns="39680"/>
          <a:lstStyle/>
          <a:p>
            <a:pPr defTabSz="793608"/>
            <a:endParaRPr lang="en-US" sz="16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30" name="Freeform 29"/>
          <p:cNvSpPr>
            <a:spLocks/>
          </p:cNvSpPr>
          <p:nvPr userDrawn="1"/>
        </p:nvSpPr>
        <p:spPr bwMode="black">
          <a:xfrm>
            <a:off x="6792915" y="2048706"/>
            <a:ext cx="105879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79361" tIns="39680" rIns="79361" bIns="39680"/>
          <a:lstStyle/>
          <a:p>
            <a:pPr defTabSz="793608"/>
            <a:endParaRPr lang="en-US" sz="16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31" name="Freeform 30"/>
          <p:cNvSpPr>
            <a:spLocks/>
          </p:cNvSpPr>
          <p:nvPr userDrawn="1"/>
        </p:nvSpPr>
        <p:spPr bwMode="black">
          <a:xfrm>
            <a:off x="7086021" y="1891687"/>
            <a:ext cx="105879" cy="524075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79361" tIns="39680" rIns="79361" bIns="39680"/>
          <a:lstStyle/>
          <a:p>
            <a:pPr defTabSz="793608"/>
            <a:endParaRPr lang="en-US" sz="16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33" name="Freeform 32"/>
          <p:cNvSpPr>
            <a:spLocks/>
          </p:cNvSpPr>
          <p:nvPr userDrawn="1"/>
        </p:nvSpPr>
        <p:spPr bwMode="black">
          <a:xfrm>
            <a:off x="7373958" y="2048706"/>
            <a:ext cx="105879" cy="28446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79361" tIns="39680" rIns="79361" bIns="39680"/>
          <a:lstStyle/>
          <a:p>
            <a:pPr defTabSz="793608"/>
            <a:endParaRPr lang="en-US" sz="16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34" name="Freeform 33"/>
          <p:cNvSpPr>
            <a:spLocks/>
          </p:cNvSpPr>
          <p:nvPr userDrawn="1"/>
        </p:nvSpPr>
        <p:spPr bwMode="black">
          <a:xfrm>
            <a:off x="7667064" y="2162901"/>
            <a:ext cx="105879" cy="17027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79361" tIns="39680" rIns="79361" bIns="39680"/>
          <a:lstStyle/>
          <a:p>
            <a:pPr defTabSz="793608"/>
            <a:endParaRPr lang="en-US" sz="16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6960273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2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3" grpId="0" animBg="1"/>
      <p:bldP spid="33" grpId="1" animBg="1"/>
      <p:bldP spid="34" grpId="0" animBg="1"/>
      <p:bldP spid="34" grpId="1" animBg="1"/>
    </p:bld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356" y="152208"/>
            <a:ext cx="8275203" cy="623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53839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21394" y="2108877"/>
            <a:ext cx="8301718" cy="64473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60446" y="3621083"/>
            <a:ext cx="8112126" cy="288131"/>
          </a:xfrm>
          <a:prstGeom prst="rect">
            <a:avLst/>
          </a:prstGeom>
        </p:spPr>
        <p:txBody>
          <a:bodyPr lIns="91160" tIns="45580" rIns="91160" bIns="45580" anchor="b" anchorCtr="0">
            <a:noAutofit/>
          </a:bodyPr>
          <a:lstStyle>
            <a:lvl1pPr marL="0" indent="0" algn="l">
              <a:buNone/>
              <a:defRPr sz="12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3418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3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5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7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096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1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35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54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59868" y="3873747"/>
            <a:ext cx="8112650" cy="288131"/>
          </a:xfrm>
          <a:prstGeom prst="rect">
            <a:avLst/>
          </a:prstGeom>
        </p:spPr>
        <p:txBody>
          <a:bodyPr lIns="91160" tIns="45580" rIns="91160" bIns="45580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51847" y="4453738"/>
            <a:ext cx="8112650" cy="288131"/>
          </a:xfrm>
          <a:prstGeom prst="rect">
            <a:avLst/>
          </a:prstGeom>
        </p:spPr>
        <p:txBody>
          <a:bodyPr lIns="91160" tIns="45580" rIns="91160" bIns="45580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52571" y="2622503"/>
            <a:ext cx="8302625" cy="299001"/>
          </a:xfrm>
          <a:prstGeom prst="rect">
            <a:avLst/>
          </a:prstGeom>
        </p:spPr>
        <p:txBody>
          <a:bodyPr lIns="91160" tIns="45580" rIns="91160" bIns="45580"/>
          <a:lstStyle>
            <a:lvl1pPr marL="0" indent="0">
              <a:buFont typeface="Arial" panose="020B0604020202020204" pitchFamily="34" charset="0"/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304001" indent="0">
              <a:buNone/>
              <a:defRPr/>
            </a:lvl2pPr>
            <a:lvl3pPr marL="426232" indent="0">
              <a:buNone/>
              <a:defRPr/>
            </a:lvl3pPr>
            <a:lvl4pPr marL="515328" indent="0">
              <a:buNone/>
              <a:defRPr/>
            </a:lvl4pPr>
            <a:lvl5pPr marL="599596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285232" y="307876"/>
            <a:ext cx="862739" cy="459830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104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21394" y="2108877"/>
            <a:ext cx="8301718" cy="64473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60446" y="3621083"/>
            <a:ext cx="8112126" cy="288131"/>
          </a:xfrm>
          <a:prstGeom prst="rect">
            <a:avLst/>
          </a:prstGeom>
        </p:spPr>
        <p:txBody>
          <a:bodyPr lIns="91160" tIns="45580" rIns="91160" bIns="45580" anchor="b" anchorCtr="0">
            <a:noAutofit/>
          </a:bodyPr>
          <a:lstStyle>
            <a:lvl1pPr marL="0" indent="0" algn="l">
              <a:buNone/>
              <a:defRPr sz="12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3418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3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5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7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096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1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35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54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59868" y="3873747"/>
            <a:ext cx="8112650" cy="288131"/>
          </a:xfrm>
          <a:prstGeom prst="rect">
            <a:avLst/>
          </a:prstGeom>
        </p:spPr>
        <p:txBody>
          <a:bodyPr lIns="91160" tIns="45580" rIns="91160" bIns="45580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51847" y="4453738"/>
            <a:ext cx="8112650" cy="288131"/>
          </a:xfrm>
          <a:prstGeom prst="rect">
            <a:avLst/>
          </a:prstGeom>
        </p:spPr>
        <p:txBody>
          <a:bodyPr lIns="91160" tIns="45580" rIns="91160" bIns="45580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52571" y="2622503"/>
            <a:ext cx="8302625" cy="299001"/>
          </a:xfrm>
          <a:prstGeom prst="rect">
            <a:avLst/>
          </a:prstGeom>
        </p:spPr>
        <p:txBody>
          <a:bodyPr lIns="91160" tIns="45580" rIns="91160" bIns="45580"/>
          <a:lstStyle>
            <a:lvl1pPr marL="0" indent="0">
              <a:buFont typeface="Arial" panose="020B0604020202020204" pitchFamily="34" charset="0"/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304001" indent="0">
              <a:buNone/>
              <a:defRPr/>
            </a:lvl2pPr>
            <a:lvl3pPr marL="426232" indent="0">
              <a:buNone/>
              <a:defRPr/>
            </a:lvl3pPr>
            <a:lvl4pPr marL="515328" indent="0">
              <a:buNone/>
              <a:defRPr/>
            </a:lvl4pPr>
            <a:lvl5pPr marL="599596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285232" y="307876"/>
            <a:ext cx="862739" cy="459830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149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34000">
              <a:srgbClr val="272749"/>
            </a:gs>
            <a:gs pos="93000">
              <a:srgbClr val="EE402F"/>
            </a:gs>
            <a:gs pos="0">
              <a:srgbClr val="272749"/>
            </a:gs>
            <a:gs pos="100000">
              <a:srgbClr val="F37528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21394" y="2108877"/>
            <a:ext cx="8301718" cy="64473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25" y="3621083"/>
            <a:ext cx="8112126" cy="288131"/>
          </a:xfrm>
          <a:prstGeom prst="rect">
            <a:avLst/>
          </a:prstGeom>
        </p:spPr>
        <p:txBody>
          <a:bodyPr lIns="91160" tIns="45580" rIns="91160" bIns="45580" anchor="b" anchorCtr="0">
            <a:noAutofit/>
          </a:bodyPr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3418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3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5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7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096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1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35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54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51847" y="3873747"/>
            <a:ext cx="8112650" cy="288131"/>
          </a:xfrm>
          <a:prstGeom prst="rect">
            <a:avLst/>
          </a:prstGeom>
        </p:spPr>
        <p:txBody>
          <a:bodyPr lIns="91160" tIns="45580" rIns="91160" bIns="45580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51847" y="4453738"/>
            <a:ext cx="8112650" cy="288131"/>
          </a:xfrm>
          <a:prstGeom prst="rect">
            <a:avLst/>
          </a:prstGeom>
        </p:spPr>
        <p:txBody>
          <a:bodyPr lIns="91160" tIns="45580" rIns="91160" bIns="45580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52571" y="2622503"/>
            <a:ext cx="8302625" cy="299001"/>
          </a:xfrm>
          <a:prstGeom prst="rect">
            <a:avLst/>
          </a:prstGeom>
        </p:spPr>
        <p:txBody>
          <a:bodyPr lIns="91160" tIns="45580" rIns="91160" bIns="45580"/>
          <a:lstStyle>
            <a:lvl1pPr marL="0" indent="0"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  <a:latin typeface="+mj-lt"/>
              </a:defRPr>
            </a:lvl1pPr>
            <a:lvl2pPr marL="304001" indent="0">
              <a:buNone/>
              <a:defRPr/>
            </a:lvl2pPr>
            <a:lvl3pPr marL="426232" indent="0">
              <a:buNone/>
              <a:defRPr/>
            </a:lvl3pPr>
            <a:lvl4pPr marL="515328" indent="0">
              <a:buNone/>
              <a:defRPr/>
            </a:lvl4pPr>
            <a:lvl5pPr marL="599596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285232" y="307876"/>
            <a:ext cx="862739" cy="459830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0554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21394" y="2108877"/>
            <a:ext cx="8301718" cy="64473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25" y="3621083"/>
            <a:ext cx="8112126" cy="288131"/>
          </a:xfrm>
          <a:prstGeom prst="rect">
            <a:avLst/>
          </a:prstGeom>
        </p:spPr>
        <p:txBody>
          <a:bodyPr lIns="91160" tIns="45580" rIns="91160" bIns="45580" anchor="b" anchorCtr="0">
            <a:noAutofit/>
          </a:bodyPr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3418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3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5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7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096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1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35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54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51847" y="3873747"/>
            <a:ext cx="8112650" cy="288131"/>
          </a:xfrm>
          <a:prstGeom prst="rect">
            <a:avLst/>
          </a:prstGeom>
        </p:spPr>
        <p:txBody>
          <a:bodyPr lIns="91160" tIns="45580" rIns="91160" bIns="45580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51847" y="4453738"/>
            <a:ext cx="8112650" cy="288131"/>
          </a:xfrm>
          <a:prstGeom prst="rect">
            <a:avLst/>
          </a:prstGeom>
        </p:spPr>
        <p:txBody>
          <a:bodyPr lIns="91160" tIns="45580" rIns="91160" bIns="45580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52571" y="2622503"/>
            <a:ext cx="8302625" cy="299001"/>
          </a:xfrm>
          <a:prstGeom prst="rect">
            <a:avLst/>
          </a:prstGeom>
        </p:spPr>
        <p:txBody>
          <a:bodyPr lIns="91160" tIns="45580" rIns="91160" bIns="45580"/>
          <a:lstStyle>
            <a:lvl1pPr marL="0" indent="0"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  <a:latin typeface="+mj-lt"/>
              </a:defRPr>
            </a:lvl1pPr>
            <a:lvl2pPr marL="304001" indent="0">
              <a:buNone/>
              <a:defRPr/>
            </a:lvl2pPr>
            <a:lvl3pPr marL="426232" indent="0">
              <a:buNone/>
              <a:defRPr/>
            </a:lvl3pPr>
            <a:lvl4pPr marL="515328" indent="0">
              <a:buNone/>
              <a:defRPr/>
            </a:lvl4pPr>
            <a:lvl5pPr marL="599596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285232" y="307876"/>
            <a:ext cx="862739" cy="459830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5870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741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6559" y="3209615"/>
            <a:ext cx="4684867" cy="288131"/>
          </a:xfrm>
          <a:prstGeom prst="rect">
            <a:avLst/>
          </a:prstGeom>
        </p:spPr>
        <p:txBody>
          <a:bodyPr vert="horz" lIns="68379" tIns="34190" rIns="68379" bIns="34190" rtlCol="0">
            <a:noAutofit/>
          </a:bodyPr>
          <a:lstStyle>
            <a:lvl1pPr marL="0" indent="0" algn="l" defTabSz="683896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19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3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5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7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097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1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36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5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683896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379" tIns="34190" rIns="68379" bIns="34190" anchor="ctr"/>
          <a:lstStyle/>
          <a:p>
            <a:pPr defTabSz="455870"/>
            <a:endParaRPr lang="en-US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8869" y="2462028"/>
            <a:ext cx="4712557" cy="766763"/>
          </a:xfrm>
        </p:spPr>
        <p:txBody>
          <a:bodyPr vert="horz" lIns="61520" tIns="34190" rIns="61520" bIns="34190" rtlCol="0" anchor="b" anchorCtr="0">
            <a:noAutofit/>
          </a:bodyPr>
          <a:lstStyle>
            <a:lvl1pPr marL="0" indent="0" algn="l" defTabSz="683896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gradFill>
                  <a:gsLst>
                    <a:gs pos="34000">
                      <a:srgbClr val="272749"/>
                    </a:gs>
                    <a:gs pos="0">
                      <a:schemeClr val="tx2"/>
                    </a:gs>
                    <a:gs pos="92000">
                      <a:srgbClr val="EE402F"/>
                    </a:gs>
                    <a:gs pos="100000">
                      <a:srgbClr val="F37527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379" tIns="34190" rIns="68379" bIns="34190" anchor="ctr"/>
          <a:lstStyle/>
          <a:p>
            <a:pPr defTabSz="455870"/>
            <a:endParaRPr lang="en-US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5540446" y="1438276"/>
            <a:ext cx="2676525" cy="2166938"/>
          </a:xfrm>
          <a:prstGeom prst="rect">
            <a:avLst/>
          </a:prstGeom>
        </p:spPr>
        <p:txBody>
          <a:bodyPr lIns="91160" tIns="45580" rIns="91160" bIns="45580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187874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21394" y="2108877"/>
            <a:ext cx="8301718" cy="64473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25" y="3621023"/>
            <a:ext cx="8112126" cy="288131"/>
          </a:xfrm>
          <a:prstGeom prst="rect">
            <a:avLst/>
          </a:prstGeom>
        </p:spPr>
        <p:txBody>
          <a:bodyPr lIns="91416" tIns="45708" rIns="91416" bIns="45708" anchor="b" anchorCtr="0">
            <a:noAutofit/>
          </a:bodyPr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342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51847" y="3873687"/>
            <a:ext cx="8112650" cy="288131"/>
          </a:xfrm>
          <a:prstGeom prst="rect">
            <a:avLst/>
          </a:prstGeom>
        </p:spPr>
        <p:txBody>
          <a:bodyPr lIns="91416" tIns="45708" rIns="91416" bIns="45708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51847" y="4453678"/>
            <a:ext cx="8112650" cy="288131"/>
          </a:xfrm>
          <a:prstGeom prst="rect">
            <a:avLst/>
          </a:prstGeom>
        </p:spPr>
        <p:txBody>
          <a:bodyPr lIns="91416" tIns="45708" rIns="91416" bIns="45708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52579" y="2622503"/>
            <a:ext cx="8302625" cy="299001"/>
          </a:xfrm>
          <a:prstGeom prst="rect">
            <a:avLst/>
          </a:prstGeom>
        </p:spPr>
        <p:txBody>
          <a:bodyPr lIns="91416" tIns="45708" rIns="91416" bIns="45708"/>
          <a:lstStyle>
            <a:lvl1pPr marL="0" indent="0"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  <a:latin typeface="+mj-lt"/>
              </a:defRPr>
            </a:lvl1pPr>
            <a:lvl2pPr marL="304769" indent="0">
              <a:buNone/>
              <a:defRPr/>
            </a:lvl2pPr>
            <a:lvl3pPr marL="427383" indent="0">
              <a:buNone/>
              <a:defRPr/>
            </a:lvl3pPr>
            <a:lvl4pPr marL="516673" indent="0">
              <a:buNone/>
              <a:defRPr/>
            </a:lvl4pPr>
            <a:lvl5pPr marL="601196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285176" y="307876"/>
            <a:ext cx="862739" cy="459830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4715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376" tIns="34189" rIns="68376" bIns="34189" anchor="ctr"/>
          <a:lstStyle/>
          <a:p>
            <a:pPr defTabSz="455870"/>
            <a:endParaRPr lang="en-US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376" tIns="34189" rIns="68376" bIns="34189" anchor="ctr"/>
          <a:lstStyle/>
          <a:p>
            <a:pPr defTabSz="455870"/>
            <a:endParaRPr lang="en-US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571576"/>
            <a:ext cx="8301718" cy="256994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gradFill>
                  <a:gsLst>
                    <a:gs pos="34000">
                      <a:srgbClr val="272749"/>
                    </a:gs>
                    <a:gs pos="0">
                      <a:schemeClr val="tx2"/>
                    </a:gs>
                    <a:gs pos="92000">
                      <a:srgbClr val="EE402F"/>
                    </a:gs>
                    <a:gs pos="100000">
                      <a:srgbClr val="F37527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039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562609"/>
            <a:ext cx="8301718" cy="256994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7959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562609"/>
            <a:ext cx="8301718" cy="256994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38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59117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1498" y="1200191"/>
            <a:ext cx="8659976" cy="3394075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284910" marR="0" indent="-284910" algn="ctr" defTabSz="4558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4558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 smtClean="0"/>
              <a:t>This slide will allow you to add one of the following:</a:t>
            </a:r>
            <a:br>
              <a:rPr lang="en-GB" dirty="0" smtClean="0"/>
            </a:br>
            <a:r>
              <a:rPr lang="en-GB" dirty="0" smtClean="0"/>
              <a:t>Table, Charts, Smart Art, Pictures, Clip Art and Media</a:t>
            </a:r>
            <a:br>
              <a:rPr lang="en-GB" dirty="0" smtClean="0"/>
            </a:br>
            <a:r>
              <a:rPr lang="en-GB" dirty="0" smtClean="0"/>
              <a:t>Click icon to add content</a:t>
            </a: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4230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xmlns:p14="http://schemas.microsoft.com/office/powerpoint/2010/main"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59117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1498" y="1200191"/>
            <a:ext cx="8659976" cy="3394075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284910" marR="0" indent="-284910" algn="l" defTabSz="4558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4558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 smtClean="0"/>
              <a:t>This slide will allow you to add one of the following:</a:t>
            </a:r>
            <a:br>
              <a:rPr lang="en-GB" dirty="0" smtClean="0"/>
            </a:br>
            <a:r>
              <a:rPr lang="en-GB" dirty="0" smtClean="0"/>
              <a:t>Table, Charts, Smart Art, Pictures, Clip Art and Media</a:t>
            </a:r>
            <a:br>
              <a:rPr lang="en-GB" dirty="0" smtClean="0"/>
            </a:br>
            <a:r>
              <a:rPr lang="en-GB" dirty="0" smtClean="0"/>
              <a:t>Click icon to add content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3997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xmlns:p14="http://schemas.microsoft.com/office/powerpoint/2010/main"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5456" y="1249964"/>
            <a:ext cx="8582751" cy="3266034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288085" indent="-231143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16055" indent="-21527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47124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465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079525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60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5457" y="1249964"/>
            <a:ext cx="4169632" cy="3266034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227970" indent="-170960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5870" indent="-21527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6817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7788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68716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40994" y="1249964"/>
            <a:ext cx="4169632" cy="3266034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227970" indent="-170960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5870" indent="-21527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6817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7788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68716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9941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45457" y="1249964"/>
            <a:ext cx="4169632" cy="3266034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232731" indent="-170960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0740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 slide that uses more content than the standard bullet slide will allow</a:t>
            </a:r>
          </a:p>
          <a:p>
            <a:pPr lvl="2"/>
            <a:r>
              <a:rPr lang="en-US" dirty="0" smtClean="0"/>
              <a:t>This is where all the second level information is</a:t>
            </a:r>
            <a:br>
              <a:rPr lang="en-US" dirty="0" smtClean="0"/>
            </a:br>
            <a:r>
              <a:rPr lang="en-US" dirty="0" smtClean="0"/>
              <a:t>placed if you choose to have an outline</a:t>
            </a:r>
          </a:p>
          <a:p>
            <a:pPr lvl="2"/>
            <a:r>
              <a:rPr lang="en-US" dirty="0" smtClean="0"/>
              <a:t>Here is another bullet point</a:t>
            </a:r>
          </a:p>
          <a:p>
            <a:r>
              <a:rPr lang="en-US" dirty="0" smtClean="0"/>
              <a:t>First level bullets are 14 point and</a:t>
            </a:r>
            <a:br>
              <a:rPr lang="en-US" dirty="0" smtClean="0"/>
            </a:br>
            <a:r>
              <a:rPr lang="en-US" dirty="0" smtClean="0"/>
              <a:t>use an actual bullet point</a:t>
            </a:r>
          </a:p>
          <a:p>
            <a:pPr lvl="2"/>
            <a:r>
              <a:rPr lang="en-US" dirty="0" smtClean="0"/>
              <a:t>Second level bullets are 12 points in size</a:t>
            </a:r>
          </a:p>
          <a:p>
            <a:pPr lvl="2"/>
            <a:r>
              <a:rPr lang="en-US" dirty="0" smtClean="0"/>
              <a:t>It’s important to keep consistency </a:t>
            </a:r>
          </a:p>
          <a:p>
            <a:r>
              <a:rPr lang="en-US" dirty="0" smtClean="0"/>
              <a:t>If you are using this type of slide in your presentation, you are probably creating</a:t>
            </a:r>
            <a:br>
              <a:rPr lang="en-US" dirty="0" smtClean="0"/>
            </a:br>
            <a:r>
              <a:rPr lang="en-US" dirty="0" smtClean="0"/>
              <a:t>a document that should be printed and</a:t>
            </a:r>
            <a:br>
              <a:rPr lang="en-US" dirty="0" smtClean="0"/>
            </a:br>
            <a:r>
              <a:rPr lang="en-US" dirty="0" smtClean="0"/>
              <a:t>passed out to your audience</a:t>
            </a:r>
          </a:p>
          <a:p>
            <a:endParaRPr lang="en-US" dirty="0" smtClean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640994" y="1249964"/>
            <a:ext cx="4169632" cy="3266034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223207" indent="-170960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0740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 slide that uses more content than the standard bullet slide will allow</a:t>
            </a:r>
          </a:p>
          <a:p>
            <a:pPr lvl="2"/>
            <a:r>
              <a:rPr lang="en-US" dirty="0" smtClean="0"/>
              <a:t>This is where all the second level information is</a:t>
            </a:r>
            <a:br>
              <a:rPr lang="en-US" dirty="0" smtClean="0"/>
            </a:br>
            <a:r>
              <a:rPr lang="en-US" dirty="0" smtClean="0"/>
              <a:t>placed if you choose to have an outline</a:t>
            </a:r>
          </a:p>
          <a:p>
            <a:pPr lvl="2"/>
            <a:r>
              <a:rPr lang="en-US" dirty="0" smtClean="0"/>
              <a:t>Here is another bullet point</a:t>
            </a:r>
          </a:p>
          <a:p>
            <a:r>
              <a:rPr lang="en-US" dirty="0" smtClean="0"/>
              <a:t>First level bullets are 14 point and</a:t>
            </a:r>
            <a:br>
              <a:rPr lang="en-US" dirty="0" smtClean="0"/>
            </a:br>
            <a:r>
              <a:rPr lang="en-US" dirty="0" smtClean="0"/>
              <a:t>use an actual bullet point</a:t>
            </a:r>
          </a:p>
          <a:p>
            <a:pPr lvl="2"/>
            <a:r>
              <a:rPr lang="en-US" dirty="0" smtClean="0"/>
              <a:t>Second level bullets are 12 points in size</a:t>
            </a:r>
          </a:p>
          <a:p>
            <a:pPr lvl="2"/>
            <a:r>
              <a:rPr lang="en-US" dirty="0" smtClean="0"/>
              <a:t>It’s important to keep consistency </a:t>
            </a:r>
          </a:p>
          <a:p>
            <a:r>
              <a:rPr lang="en-US" dirty="0" smtClean="0"/>
              <a:t>If you are using this type of slide in your presentation, you are probably creating</a:t>
            </a:r>
            <a:br>
              <a:rPr lang="en-US" dirty="0" smtClean="0"/>
            </a:br>
            <a:r>
              <a:rPr lang="en-US" dirty="0" smtClean="0"/>
              <a:t>a document that should be printed and</a:t>
            </a:r>
            <a:br>
              <a:rPr lang="en-US" dirty="0" smtClean="0"/>
            </a:br>
            <a:r>
              <a:rPr lang="en-US" dirty="0" smtClean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86506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5143103" y="1229803"/>
            <a:ext cx="3623212" cy="3306356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0" tIns="45580" rIns="91160" bIns="45580" rtlCol="0" anchor="ctr"/>
          <a:lstStyle/>
          <a:p>
            <a:pPr algn="ctr" defTabSz="455870"/>
            <a:endParaRPr lang="en-US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221224" y="1310833"/>
            <a:ext cx="3236976" cy="1830001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85523" indent="-85523" algn="l" defTabSz="683868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dirty="0" smtClean="0">
                <a:gradFill>
                  <a:gsLst>
                    <a:gs pos="0">
                      <a:schemeClr val="tx2"/>
                    </a:gs>
                    <a:gs pos="27000">
                      <a:srgbClr val="272749"/>
                    </a:gs>
                    <a:gs pos="100000">
                      <a:schemeClr val="accent4"/>
                    </a:gs>
                    <a:gs pos="83000">
                      <a:schemeClr val="accent5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85523" indent="-85523" algn="l" defTabSz="683868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523" indent="-85523" algn="l" defTabSz="683868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523" indent="-85523" algn="l" defTabSz="683868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523" indent="-85523" algn="l" defTabSz="683868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299798" y="3552444"/>
            <a:ext cx="3326071" cy="253746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 smtClean="0"/>
              <a:t>Source Name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259741" y="302421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ull Quot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45457" y="1249964"/>
            <a:ext cx="4169632" cy="3266034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232731" indent="-170960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4283" indent="-18994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</a:t>
            </a:r>
            <a:br>
              <a:rPr lang="en-US" dirty="0" smtClean="0"/>
            </a:br>
            <a:r>
              <a:rPr lang="en-US" dirty="0" smtClean="0"/>
              <a:t>slide with a pull quote</a:t>
            </a:r>
          </a:p>
          <a:p>
            <a:pPr lvl="1"/>
            <a:r>
              <a:rPr lang="en-US" dirty="0" smtClean="0"/>
              <a:t>This is where all the second level </a:t>
            </a:r>
            <a:br>
              <a:rPr lang="en-US" dirty="0" smtClean="0"/>
            </a:br>
            <a:r>
              <a:rPr lang="en-US" dirty="0" smtClean="0"/>
              <a:t>information goes</a:t>
            </a:r>
          </a:p>
          <a:p>
            <a:pPr lvl="1"/>
            <a:r>
              <a:rPr lang="en-US" dirty="0" smtClean="0"/>
              <a:t>This is another bullet point</a:t>
            </a:r>
          </a:p>
          <a:p>
            <a:r>
              <a:rPr lang="en-US" dirty="0" smtClean="0"/>
              <a:t>First level bullets are 16 points</a:t>
            </a:r>
            <a:br>
              <a:rPr lang="en-US" dirty="0" smtClean="0"/>
            </a:br>
            <a:r>
              <a:rPr lang="en-US" dirty="0" smtClean="0"/>
              <a:t>and use a bullet point</a:t>
            </a:r>
          </a:p>
          <a:p>
            <a:pPr lvl="1"/>
            <a:r>
              <a:rPr lang="en-US" dirty="0" smtClean="0"/>
              <a:t>Second level bullets are 14 points in size</a:t>
            </a:r>
          </a:p>
          <a:p>
            <a:pPr lvl="1"/>
            <a:r>
              <a:rPr lang="en-US" dirty="0" smtClean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2529231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xmlns:p14="http://schemas.microsoft.com/office/powerpoint/2010/main"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441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21394" y="2108877"/>
            <a:ext cx="8301718" cy="64473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25" y="3621023"/>
            <a:ext cx="8112126" cy="288131"/>
          </a:xfrm>
          <a:prstGeom prst="rect">
            <a:avLst/>
          </a:prstGeom>
        </p:spPr>
        <p:txBody>
          <a:bodyPr lIns="91416" tIns="45708" rIns="91416" bIns="45708" anchor="b" anchorCtr="0">
            <a:noAutofit/>
          </a:bodyPr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342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51847" y="3873687"/>
            <a:ext cx="8112650" cy="288131"/>
          </a:xfrm>
          <a:prstGeom prst="rect">
            <a:avLst/>
          </a:prstGeom>
        </p:spPr>
        <p:txBody>
          <a:bodyPr lIns="91416" tIns="45708" rIns="91416" bIns="45708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51847" y="4453678"/>
            <a:ext cx="8112650" cy="288131"/>
          </a:xfrm>
          <a:prstGeom prst="rect">
            <a:avLst/>
          </a:prstGeom>
        </p:spPr>
        <p:txBody>
          <a:bodyPr lIns="91416" tIns="45708" rIns="91416" bIns="45708"/>
          <a:lstStyle>
            <a:lvl1pPr marL="0" indent="0" algn="l">
              <a:buFontTx/>
              <a:buNone/>
              <a:defRPr lang="en-US" sz="12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52579" y="2622503"/>
            <a:ext cx="8302625" cy="299001"/>
          </a:xfrm>
          <a:prstGeom prst="rect">
            <a:avLst/>
          </a:prstGeom>
        </p:spPr>
        <p:txBody>
          <a:bodyPr lIns="91416" tIns="45708" rIns="91416" bIns="45708"/>
          <a:lstStyle>
            <a:lvl1pPr marL="0" indent="0"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  <a:latin typeface="+mj-lt"/>
              </a:defRPr>
            </a:lvl1pPr>
            <a:lvl2pPr marL="304769" indent="0">
              <a:buNone/>
              <a:defRPr/>
            </a:lvl2pPr>
            <a:lvl3pPr marL="427383" indent="0">
              <a:buNone/>
              <a:defRPr/>
            </a:lvl3pPr>
            <a:lvl4pPr marL="516673" indent="0">
              <a:buNone/>
              <a:defRPr/>
            </a:lvl4pPr>
            <a:lvl5pPr marL="601196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285176" y="307876"/>
            <a:ext cx="862739" cy="459830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086"/>
              <a:endParaRPr lang="en-US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184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1604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1786" y="302506"/>
            <a:ext cx="4005072" cy="628650"/>
          </a:xfrm>
          <a:prstGeom prst="rect">
            <a:avLst/>
          </a:prstGeom>
        </p:spPr>
        <p:txBody>
          <a:bodyPr vert="horz" lIns="61517" tIns="34189" rIns="61517" bIns="34189" rtlCol="0" anchor="t" anchorCtr="0">
            <a:noAutofit/>
          </a:bodyPr>
          <a:lstStyle>
            <a:lvl1pPr algn="l" defTabSz="68386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500" b="0" i="0" kern="1200" spc="-75" baseline="0" dirty="0" smtClean="0">
                <a:solidFill>
                  <a:schemeClr val="accent4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51539" y="1200150"/>
            <a:ext cx="4005072" cy="3394710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4897" indent="-170976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 smtClean="0"/>
              <a:t>Body copy uses sentence capital letters only, size 16, left aligned</a:t>
            </a:r>
          </a:p>
          <a:p>
            <a:pPr lvl="1"/>
            <a:r>
              <a:rPr lang="en-US" dirty="0" smtClean="0"/>
              <a:t>Sub-bullets are size 14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818888" y="1200150"/>
            <a:ext cx="4005072" cy="3394710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4897" indent="-170976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 smtClean="0"/>
              <a:t>Body copy uses sentence capital letters only, size 16, left aligned</a:t>
            </a:r>
          </a:p>
          <a:p>
            <a:pPr lvl="1"/>
            <a:r>
              <a:rPr lang="en-US" dirty="0" smtClean="0"/>
              <a:t>Sub-bullets are size 14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822429" y="302506"/>
            <a:ext cx="4005072" cy="630936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0" marR="0" indent="0" algn="l" defTabSz="68386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500" b="0" i="0" kern="1200" spc="-75" baseline="0" dirty="0">
                <a:solidFill>
                  <a:schemeClr val="accent4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68386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Right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600575" y="609645"/>
            <a:ext cx="0" cy="3985259"/>
          </a:xfrm>
          <a:prstGeom prst="line">
            <a:avLst/>
          </a:prstGeom>
          <a:ln w="38100" cap="flat" cmpd="sng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4462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  <p:hf hdr="0" ftr="0" dt="0"/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19515" y="75438"/>
            <a:ext cx="2668457" cy="864108"/>
          </a:xfrm>
          <a:prstGeom prst="rect">
            <a:avLst/>
          </a:prstGeom>
        </p:spPr>
        <p:txBody>
          <a:bodyPr lIns="91160" tIns="45580" rIns="91160" bIns="45580" anchor="b" anchorCtr="0">
            <a:noAutofit/>
          </a:bodyPr>
          <a:lstStyle>
            <a:lvl1pPr marL="0" marR="0" indent="0" algn="l" defTabSz="68386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68386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258399" y="75438"/>
            <a:ext cx="2599859" cy="864108"/>
          </a:xfrm>
          <a:prstGeom prst="rect">
            <a:avLst/>
          </a:prstGeom>
        </p:spPr>
        <p:txBody>
          <a:bodyPr lIns="91160" tIns="45580" rIns="91160" bIns="45580" anchor="b" anchorCtr="0">
            <a:noAutofit/>
          </a:bodyPr>
          <a:lstStyle>
            <a:lvl1pPr marL="0" marR="0" indent="0" algn="l" defTabSz="68386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68386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6272202" y="75438"/>
            <a:ext cx="2634158" cy="864108"/>
          </a:xfrm>
          <a:prstGeom prst="rect">
            <a:avLst/>
          </a:prstGeom>
        </p:spPr>
        <p:txBody>
          <a:bodyPr lIns="91160" tIns="45580" rIns="91160" bIns="45580" anchor="b" anchorCtr="0">
            <a:noAutofit/>
          </a:bodyPr>
          <a:lstStyle>
            <a:lvl1pPr marL="0" marR="0" indent="0" algn="l" defTabSz="68386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68386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19515" y="1201574"/>
            <a:ext cx="2668457" cy="3336008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223207" indent="-170960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02039" indent="-18994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568233" indent="-16619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43955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0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14897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9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690503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6272202" y="1183948"/>
            <a:ext cx="2634158" cy="3336008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170983" indent="-170983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358950" indent="-21537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571408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43955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0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14897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9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690503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3258399" y="1201574"/>
            <a:ext cx="2599859" cy="3336008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170983" indent="-170983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343447" indent="-175688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512879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685393" indent="-1709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0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853144" indent="-16778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9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690503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076575" y="609645"/>
            <a:ext cx="0" cy="3985259"/>
          </a:xfrm>
          <a:prstGeom prst="line">
            <a:avLst/>
          </a:prstGeom>
          <a:ln w="38100" cap="flat" cmpd="sng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6067425" y="609645"/>
            <a:ext cx="0" cy="3985259"/>
          </a:xfrm>
          <a:prstGeom prst="line">
            <a:avLst/>
          </a:prstGeom>
          <a:ln w="38100" cap="flat" cmpd="sng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961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4365209"/>
            <a:ext cx="7461250" cy="207749"/>
          </a:xfrm>
          <a:prstGeom prst="rect">
            <a:avLst/>
          </a:prstGeom>
        </p:spPr>
        <p:txBody>
          <a:bodyPr wrap="square" lIns="91160" tIns="45580" rIns="91160" bIns="45580" anchor="b" anchorCtr="0">
            <a:noAutofit/>
          </a:bodyPr>
          <a:lstStyle>
            <a:lvl1pPr marL="0" indent="0" algn="l" defTabSz="6019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54841" y="940780"/>
            <a:ext cx="8168270" cy="2878673"/>
          </a:xfrm>
          <a:prstGeom prst="rect">
            <a:avLst/>
          </a:prstGeom>
        </p:spPr>
        <p:txBody>
          <a:bodyPr>
            <a:noAutofit/>
          </a:bodyPr>
          <a:lstStyle>
            <a:lvl1pPr marL="398890" indent="-398890" algn="l">
              <a:lnSpc>
                <a:spcPct val="90000"/>
              </a:lnSpc>
              <a:defRPr sz="6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806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54841" y="940780"/>
            <a:ext cx="8168270" cy="2878673"/>
          </a:xfrm>
          <a:prstGeom prst="rect">
            <a:avLst/>
          </a:prstGeom>
        </p:spPr>
        <p:txBody>
          <a:bodyPr>
            <a:noAutofit/>
          </a:bodyPr>
          <a:lstStyle>
            <a:lvl1pPr marL="402039" indent="-402039" algn="l">
              <a:lnSpc>
                <a:spcPct val="90000"/>
              </a:lnSpc>
              <a:defRPr sz="6000" b="0" i="1" spc="0" baseline="0">
                <a:gradFill>
                  <a:gsLst>
                    <a:gs pos="33000">
                      <a:srgbClr val="272749"/>
                    </a:gs>
                    <a:gs pos="0">
                      <a:srgbClr val="272749"/>
                    </a:gs>
                    <a:gs pos="93000">
                      <a:srgbClr val="EE402F"/>
                    </a:gs>
                    <a:gs pos="100000">
                      <a:srgbClr val="F37528"/>
                    </a:gs>
                  </a:gsLst>
                  <a:lin ang="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24013" y="4365209"/>
            <a:ext cx="7461250" cy="207749"/>
          </a:xfrm>
          <a:prstGeom prst="rect">
            <a:avLst/>
          </a:prstGeom>
        </p:spPr>
        <p:txBody>
          <a:bodyPr wrap="square" lIns="91160" tIns="45580" rIns="91160" bIns="45580" anchor="b" anchorCtr="0">
            <a:noAutofit/>
          </a:bodyPr>
          <a:lstStyle>
            <a:lvl1pPr marL="0" indent="0" algn="l" defTabSz="6019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07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4365209"/>
            <a:ext cx="7461250" cy="207749"/>
          </a:xfrm>
          <a:prstGeom prst="rect">
            <a:avLst/>
          </a:prstGeom>
        </p:spPr>
        <p:txBody>
          <a:bodyPr wrap="square" lIns="91160" tIns="45580" rIns="91160" bIns="45580" anchor="b" anchorCtr="0">
            <a:noAutofit/>
          </a:bodyPr>
          <a:lstStyle>
            <a:lvl1pPr marL="0" indent="0" algn="l" defTabSz="6019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54841" y="940780"/>
            <a:ext cx="8168270" cy="2878673"/>
          </a:xfrm>
          <a:prstGeom prst="rect">
            <a:avLst/>
          </a:prstGeom>
        </p:spPr>
        <p:txBody>
          <a:bodyPr>
            <a:noAutofit/>
          </a:bodyPr>
          <a:lstStyle>
            <a:lvl1pPr marL="402039" indent="-402039" algn="l">
              <a:lnSpc>
                <a:spcPct val="90000"/>
              </a:lnSpc>
              <a:defRPr sz="6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670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Quot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4365209"/>
            <a:ext cx="7461250" cy="207749"/>
          </a:xfrm>
          <a:prstGeom prst="rect">
            <a:avLst/>
          </a:prstGeom>
        </p:spPr>
        <p:txBody>
          <a:bodyPr wrap="square" lIns="91160" tIns="45580" rIns="91160" bIns="45580" anchor="b" anchorCtr="0">
            <a:noAutofit/>
          </a:bodyPr>
          <a:lstStyle>
            <a:lvl1pPr marL="0" indent="0" algn="l" defTabSz="6019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93000">
                  <a:schemeClr val="accent5"/>
                </a:gs>
                <a:gs pos="33000">
                  <a:schemeClr val="tx2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54841" y="940780"/>
            <a:ext cx="8168270" cy="2878673"/>
          </a:xfrm>
          <a:prstGeom prst="rect">
            <a:avLst/>
          </a:prstGeom>
        </p:spPr>
        <p:txBody>
          <a:bodyPr>
            <a:noAutofit/>
          </a:bodyPr>
          <a:lstStyle>
            <a:lvl1pPr marL="402039" indent="-402039" algn="l">
              <a:lnSpc>
                <a:spcPct val="90000"/>
              </a:lnSpc>
              <a:defRPr sz="6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9085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21394" y="940780"/>
            <a:ext cx="8301718" cy="2878673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230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70%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7" y="4365209"/>
            <a:ext cx="7461250" cy="207749"/>
          </a:xfrm>
          <a:prstGeom prst="rect">
            <a:avLst/>
          </a:prstGeom>
        </p:spPr>
        <p:txBody>
          <a:bodyPr wrap="square" lIns="91160" tIns="45580" rIns="91160" bIns="45580" anchor="b" anchorCtr="0">
            <a:noAutofit/>
          </a:bodyPr>
          <a:lstStyle>
            <a:lvl1pPr marL="0" indent="0" algn="l" defTabSz="6019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821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21394" y="940780"/>
            <a:ext cx="8301718" cy="2878673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23000" b="0" i="1" spc="0" baseline="0">
                <a:gradFill>
                  <a:gsLst>
                    <a:gs pos="0">
                      <a:srgbClr val="272749"/>
                    </a:gs>
                    <a:gs pos="100000">
                      <a:srgbClr val="F37527"/>
                    </a:gs>
                    <a:gs pos="34000">
                      <a:srgbClr val="272749"/>
                    </a:gs>
                    <a:gs pos="92000">
                      <a:srgbClr val="EE402F"/>
                    </a:gs>
                  </a:gsLst>
                  <a:lin ang="0" scaled="1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70%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7" y="4365209"/>
            <a:ext cx="7461250" cy="207749"/>
          </a:xfrm>
          <a:prstGeom prst="rect">
            <a:avLst/>
          </a:prstGeom>
        </p:spPr>
        <p:txBody>
          <a:bodyPr wrap="square" lIns="91160" tIns="45580" rIns="91160" bIns="45580" anchor="b" anchorCtr="0">
            <a:noAutofit/>
          </a:bodyPr>
          <a:lstStyle>
            <a:lvl1pPr marL="0" indent="0" algn="l" defTabSz="6019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291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21394" y="940780"/>
            <a:ext cx="8301718" cy="2878673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23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70%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7" y="4365209"/>
            <a:ext cx="7461250" cy="207749"/>
          </a:xfrm>
          <a:prstGeom prst="rect">
            <a:avLst/>
          </a:prstGeom>
        </p:spPr>
        <p:txBody>
          <a:bodyPr wrap="square" lIns="91160" tIns="45580" rIns="91160" bIns="45580" anchor="b" anchorCtr="0">
            <a:noAutofit/>
          </a:bodyPr>
          <a:lstStyle>
            <a:lvl1pPr marL="0" indent="0" algn="l" defTabSz="6019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93000">
                  <a:schemeClr val="accent5"/>
                </a:gs>
                <a:gs pos="33000">
                  <a:schemeClr val="tx2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7387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Same Side Corner Rectangle 2"/>
          <p:cNvSpPr/>
          <p:nvPr userDrawn="1"/>
        </p:nvSpPr>
        <p:spPr>
          <a:xfrm rot="10800000" flipV="1">
            <a:off x="1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Round Same Side Corner Rectangle 14"/>
          <p:cNvSpPr/>
          <p:nvPr userDrawn="1"/>
        </p:nvSpPr>
        <p:spPr>
          <a:xfrm rot="10800000">
            <a:off x="7340572" y="27857"/>
            <a:ext cx="1032389" cy="219456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Round Same Side Corner Rectangle 15"/>
          <p:cNvSpPr/>
          <p:nvPr userDrawn="1"/>
        </p:nvSpPr>
        <p:spPr>
          <a:xfrm rot="10800000">
            <a:off x="8014980" y="27857"/>
            <a:ext cx="1032389" cy="118872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50000"/>
              <a:alpha val="17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48353" y="1314490"/>
            <a:ext cx="4913195" cy="492919"/>
          </a:xfrm>
          <a:prstGeom prst="roundRect">
            <a:avLst/>
          </a:prstGeom>
          <a:gradFill flip="none" rotWithShape="1">
            <a:gsLst>
              <a:gs pos="42000">
                <a:schemeClr val="bg2">
                  <a:alpha val="70000"/>
                </a:schemeClr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>
            <a:lvl1pPr marL="0" indent="0">
              <a:buFontTx/>
              <a:buNone/>
              <a:defRPr lang="en-US" dirty="0">
                <a:solidFill>
                  <a:srgbClr val="4D4D4D"/>
                </a:solidFill>
                <a:latin typeface="+mn-lt"/>
              </a:defRPr>
            </a:lvl1pPr>
          </a:lstStyle>
          <a:p>
            <a:pPr marL="400050" lvl="0" indent="-400050"/>
            <a:r>
              <a:rPr lang="en-US" dirty="0" smtClean="0"/>
              <a:t>Title 01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48353" y="2033602"/>
            <a:ext cx="4913195" cy="492919"/>
          </a:xfrm>
          <a:prstGeom prst="roundRect">
            <a:avLst/>
          </a:prstGeom>
          <a:gradFill flip="none" rotWithShape="1">
            <a:gsLst>
              <a:gs pos="42000">
                <a:schemeClr val="bg2">
                  <a:alpha val="70000"/>
                </a:schemeClr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>
            <a:lvl1pPr marL="0" indent="0">
              <a:buFontTx/>
              <a:buNone/>
              <a:defRPr lang="en-US" dirty="0">
                <a:solidFill>
                  <a:srgbClr val="4D4D4D"/>
                </a:solidFill>
                <a:latin typeface="+mn-lt"/>
              </a:defRPr>
            </a:lvl1pPr>
          </a:lstStyle>
          <a:p>
            <a:pPr marL="400050" lvl="0" indent="-400050"/>
            <a:r>
              <a:rPr lang="en-US" dirty="0" smtClean="0"/>
              <a:t>Title 02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62001" y="2752714"/>
            <a:ext cx="4913195" cy="492919"/>
          </a:xfrm>
          <a:prstGeom prst="roundRect">
            <a:avLst/>
          </a:prstGeom>
          <a:gradFill flip="none" rotWithShape="1">
            <a:gsLst>
              <a:gs pos="42000">
                <a:schemeClr val="bg2">
                  <a:alpha val="70000"/>
                </a:schemeClr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>
            <a:lvl1pPr marL="0" indent="0">
              <a:buFontTx/>
              <a:buNone/>
              <a:defRPr lang="en-US" dirty="0">
                <a:solidFill>
                  <a:srgbClr val="4D4D4D"/>
                </a:solidFill>
                <a:latin typeface="+mn-lt"/>
              </a:defRPr>
            </a:lvl1pPr>
          </a:lstStyle>
          <a:p>
            <a:pPr marL="400050" lvl="0" indent="-400050"/>
            <a:r>
              <a:rPr lang="en-US" dirty="0" smtClean="0"/>
              <a:t>Title 03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62001" y="3471826"/>
            <a:ext cx="4913195" cy="492919"/>
          </a:xfrm>
          <a:prstGeom prst="roundRect">
            <a:avLst/>
          </a:prstGeom>
          <a:gradFill flip="none" rotWithShape="1">
            <a:gsLst>
              <a:gs pos="42000">
                <a:schemeClr val="bg2">
                  <a:alpha val="70000"/>
                </a:schemeClr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>
            <a:lvl1pPr marL="0" indent="0">
              <a:buFontTx/>
              <a:buNone/>
              <a:defRPr lang="en-US" dirty="0">
                <a:solidFill>
                  <a:srgbClr val="4D4D4D"/>
                </a:solidFill>
                <a:latin typeface="+mn-lt"/>
              </a:defRPr>
            </a:lvl1pPr>
          </a:lstStyle>
          <a:p>
            <a:pPr marL="400050" lvl="0" indent="-400050"/>
            <a:r>
              <a:rPr lang="en-US" dirty="0" smtClean="0"/>
              <a:t>Title 04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70015" y="39161"/>
            <a:ext cx="4999512" cy="62865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0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genda (Static)</a:t>
            </a:r>
            <a:endParaRPr lang="en-US" dirty="0"/>
          </a:p>
        </p:txBody>
      </p:sp>
      <p:pic>
        <p:nvPicPr>
          <p:cNvPr id="13" name="Picture 12" descr="first-slide_v8-2-wom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6541215" y="948266"/>
            <a:ext cx="2602784" cy="4195233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7302501" y="25796"/>
            <a:ext cx="1859568" cy="83099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914400"/>
            <a:r>
              <a:rPr lang="en-US" sz="2400" dirty="0">
                <a:solidFill>
                  <a:srgbClr val="FFFFFF"/>
                </a:solidFill>
                <a:latin typeface="Arial Narrow" pitchFamily="34" charset="0"/>
              </a:rPr>
              <a:t>Talent Management</a:t>
            </a:r>
            <a:endParaRPr lang="en-GB" sz="2400" dirty="0">
              <a:solidFill>
                <a:srgbClr val="FFFFF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48010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6496" y="3209555"/>
            <a:ext cx="4684867" cy="288131"/>
          </a:xfrm>
          <a:prstGeom prst="rect">
            <a:avLst/>
          </a:prstGeom>
        </p:spPr>
        <p:txBody>
          <a:bodyPr vert="horz" lIns="68571" tIns="34286" rIns="68571" bIns="34286" rtlCol="0">
            <a:noAutofit/>
          </a:bodyPr>
          <a:lstStyle>
            <a:lvl1pPr marL="0" indent="0" algn="l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71" tIns="34286" rIns="68571" bIns="34286" anchor="ctr"/>
          <a:lstStyle/>
          <a:p>
            <a:pPr defTabSz="457086"/>
            <a:endParaRPr lang="en-US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8810" y="2462028"/>
            <a:ext cx="4712557" cy="766763"/>
          </a:xfrm>
        </p:spPr>
        <p:txBody>
          <a:bodyPr vert="horz" lIns="61712" tIns="34286" rIns="61712" bIns="34286" rtlCol="0" anchor="b" anchorCtr="0">
            <a:noAutofit/>
          </a:bodyPr>
          <a:lstStyle>
            <a:lvl1pPr marL="0" indent="0" algn="l" defTabSz="68572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71" tIns="34286" rIns="68571" bIns="34286" anchor="ctr"/>
          <a:lstStyle/>
          <a:p>
            <a:pPr defTabSz="457086"/>
            <a:endParaRPr lang="en-US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5540390" y="1438276"/>
            <a:ext cx="2676525" cy="2166938"/>
          </a:xfrm>
          <a:prstGeom prst="rect">
            <a:avLst/>
          </a:prstGeom>
        </p:spPr>
        <p:txBody>
          <a:bodyPr lIns="91416" tIns="45708" rIns="91416" bIns="45708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322773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xmlns:p14="http://schemas.microsoft.com/office/powerpoint/2010/main"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705553"/>
            <a:ext cx="8301718" cy="243651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683896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500" b="0" i="0" kern="1200" spc="0" baseline="0" dirty="0">
                <a:gradFill>
                  <a:gsLst>
                    <a:gs pos="34000">
                      <a:srgbClr val="272749"/>
                    </a:gs>
                    <a:gs pos="0">
                      <a:schemeClr val="tx2"/>
                    </a:gs>
                    <a:gs pos="92000">
                      <a:srgbClr val="EE402F"/>
                    </a:gs>
                    <a:gs pos="100000">
                      <a:srgbClr val="F37527"/>
                    </a:gs>
                  </a:gsLst>
                  <a:lin ang="1200000" scaled="0"/>
                </a:gra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872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705553"/>
            <a:ext cx="8301718" cy="243651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45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93000">
                  <a:schemeClr val="accent5"/>
                </a:gs>
                <a:gs pos="33000">
                  <a:schemeClr val="bg2"/>
                </a:gs>
                <a:gs pos="0">
                  <a:schemeClr val="bg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14667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Pr>
        <a:gradFill>
          <a:gsLst>
            <a:gs pos="33000">
              <a:schemeClr val="tx2"/>
            </a:gs>
            <a:gs pos="0">
              <a:srgbClr val="272749"/>
            </a:gs>
            <a:gs pos="93000">
              <a:srgbClr val="EE402F"/>
            </a:gs>
            <a:gs pos="100000">
              <a:srgbClr val="F37528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705553"/>
            <a:ext cx="8301718" cy="243651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45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93000">
                  <a:schemeClr val="accent5"/>
                </a:gs>
                <a:gs pos="33000">
                  <a:schemeClr val="tx2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320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53765" y="1439073"/>
            <a:ext cx="4117446" cy="2265389"/>
          </a:xfrm>
        </p:spPr>
        <p:txBody>
          <a:bodyPr vert="horz" lIns="61520" tIns="34190" rIns="61520" bIns="34190" rtlCol="0" anchor="ctr" anchorCtr="0">
            <a:noAutofit/>
          </a:bodyPr>
          <a:lstStyle>
            <a:lvl1pPr marL="0" indent="0" algn="l" defTabSz="683896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gradFill>
                  <a:gsLst>
                    <a:gs pos="33000">
                      <a:srgbClr val="272749"/>
                    </a:gs>
                    <a:gs pos="0">
                      <a:schemeClr val="tx2"/>
                    </a:gs>
                    <a:gs pos="93000">
                      <a:srgbClr val="EE402F"/>
                    </a:gs>
                    <a:gs pos="100000">
                      <a:srgbClr val="F37527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95344" cy="3840480"/>
          </a:xfrm>
          <a:prstGeom prst="rect">
            <a:avLst/>
          </a:prstGeom>
        </p:spPr>
        <p:txBody>
          <a:bodyPr lIns="91160" tIns="45580" rIns="91160" bIns="4558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2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600575" y="609645"/>
            <a:ext cx="0" cy="398525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1704800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59557" y="302421"/>
            <a:ext cx="8631329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able Title Goes Here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369888" y="1187452"/>
            <a:ext cx="8450262" cy="3043238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0" indent="0" algn="ctr">
              <a:buNone/>
              <a:defRPr sz="20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Table</a:t>
            </a:r>
            <a:endParaRPr lang="en-GB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7" y="4365209"/>
            <a:ext cx="7461250" cy="207749"/>
          </a:xfrm>
          <a:prstGeom prst="rect">
            <a:avLst/>
          </a:prstGeom>
        </p:spPr>
        <p:txBody>
          <a:bodyPr wrap="square" lIns="91160" tIns="45580" rIns="91160" bIns="45580" anchor="b" anchorCtr="0">
            <a:noAutofit/>
          </a:bodyPr>
          <a:lstStyle>
            <a:lvl1pPr algn="l" defTabSz="6019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567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59627" y="302421"/>
            <a:ext cx="8615217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able Title Goes Here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369958" y="1187452"/>
            <a:ext cx="8450261" cy="3043238"/>
          </a:xfrm>
          <a:prstGeom prst="rect">
            <a:avLst/>
          </a:prstGeom>
        </p:spPr>
        <p:txBody>
          <a:bodyPr lIns="91160" tIns="45580" rIns="91160" bIns="45580"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Table</a:t>
            </a:r>
            <a:endParaRPr lang="en-GB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7" y="4365209"/>
            <a:ext cx="7461250" cy="207749"/>
          </a:xfrm>
          <a:prstGeom prst="rect">
            <a:avLst/>
          </a:prstGeom>
        </p:spPr>
        <p:txBody>
          <a:bodyPr wrap="square" lIns="91160" tIns="45580" rIns="91160" bIns="45580" anchor="b" anchorCtr="0">
            <a:noAutofit/>
          </a:bodyPr>
          <a:lstStyle>
            <a:lvl1pPr marL="0" indent="0" algn="l" defTabSz="601950">
              <a:lnSpc>
                <a:spcPct val="100000"/>
              </a:lnSpc>
              <a:spcBef>
                <a:spcPct val="50000"/>
              </a:spcBef>
              <a:buNone/>
              <a:defRPr lang="en-US" sz="16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accent1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005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5729" y="4365209"/>
            <a:ext cx="7461250" cy="207749"/>
          </a:xfrm>
          <a:prstGeom prst="rect">
            <a:avLst/>
          </a:prstGeom>
        </p:spPr>
        <p:txBody>
          <a:bodyPr wrap="square" lIns="91160" tIns="45580" rIns="91160" bIns="45580" anchor="b" anchorCtr="0">
            <a:noAutofit/>
          </a:bodyPr>
          <a:lstStyle>
            <a:lvl1pPr algn="l" defTabSz="6019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59627" y="302421"/>
            <a:ext cx="8632053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hart Title Goes Here</a:t>
            </a:r>
            <a:endParaRPr lang="en-US" dirty="0"/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369888" y="1187452"/>
            <a:ext cx="8450262" cy="3043238"/>
          </a:xfrm>
          <a:prstGeom prst="rect">
            <a:avLst/>
          </a:prstGeom>
        </p:spPr>
        <p:txBody>
          <a:bodyPr vert="horz" lIns="91160" tIns="45580" rIns="91160" bIns="4558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476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369888" y="1187452"/>
            <a:ext cx="8450262" cy="3043238"/>
          </a:xfrm>
          <a:prstGeom prst="rect">
            <a:avLst/>
          </a:prstGeom>
        </p:spPr>
        <p:txBody>
          <a:bodyPr vert="horz" lIns="91160" tIns="45580" rIns="91160" bIns="45580">
            <a:noAutofit/>
          </a:bodyPr>
          <a:lstStyle>
            <a:lvl1pPr marL="0" indent="0" algn="ctr">
              <a:buNone/>
              <a:defRPr sz="20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259557" y="302421"/>
            <a:ext cx="8615940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hart Title Goes Here</a:t>
            </a:r>
            <a:endParaRPr lang="en-US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5729" y="4365209"/>
            <a:ext cx="7461250" cy="207749"/>
          </a:xfrm>
          <a:prstGeom prst="rect">
            <a:avLst/>
          </a:prstGeom>
        </p:spPr>
        <p:txBody>
          <a:bodyPr wrap="square" lIns="91160" tIns="45580" rIns="91160" bIns="45580" anchor="b" anchorCtr="0">
            <a:noAutofit/>
          </a:bodyPr>
          <a:lstStyle>
            <a:lvl1pPr algn="l" defTabSz="6019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813257" y="4932106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60755" y="4929040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113" y="4916599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354057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259557" y="302421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55355" y="1169322"/>
            <a:ext cx="4265612" cy="3220908"/>
          </a:xfrm>
          <a:prstGeom prst="rect">
            <a:avLst/>
          </a:prstGeom>
        </p:spPr>
        <p:txBody>
          <a:bodyPr lIns="91160" tIns="45580" rIns="91160" bIns="4558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4786108" y="1169322"/>
            <a:ext cx="4016375" cy="3219450"/>
          </a:xfrm>
          <a:prstGeom prst="rect">
            <a:avLst/>
          </a:prstGeom>
        </p:spPr>
        <p:txBody>
          <a:bodyPr vert="horz" lIns="91160" tIns="45580" rIns="91160" bIns="45580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7660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xmlns:p14="http://schemas.microsoft.com/office/powerpoint/2010/main"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55355" y="1169322"/>
            <a:ext cx="4265612" cy="3220908"/>
          </a:xfrm>
          <a:prstGeom prst="rect">
            <a:avLst/>
          </a:prstGeom>
        </p:spPr>
        <p:txBody>
          <a:bodyPr lIns="91160" tIns="45580" rIns="91160" bIns="4558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4786108" y="1169322"/>
            <a:ext cx="4016375" cy="3219450"/>
          </a:xfrm>
          <a:prstGeom prst="rect">
            <a:avLst/>
          </a:prstGeom>
        </p:spPr>
        <p:txBody>
          <a:bodyPr vert="horz" lIns="91160" tIns="45580" rIns="91160" bIns="45580"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258679" y="302421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987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68" tIns="34285" rIns="68568" bIns="34285" anchor="ctr"/>
          <a:lstStyle/>
          <a:p>
            <a:pPr defTabSz="457086"/>
            <a:endParaRPr lang="en-US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68" tIns="34285" rIns="68568" bIns="34285" anchor="ctr"/>
          <a:lstStyle/>
          <a:p>
            <a:pPr defTabSz="457086"/>
            <a:endParaRPr lang="en-US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571576"/>
            <a:ext cx="8301718" cy="256994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99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258465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55355" y="1169322"/>
            <a:ext cx="4265612" cy="3220908"/>
          </a:xfrm>
          <a:prstGeom prst="rect">
            <a:avLst/>
          </a:prstGeom>
        </p:spPr>
        <p:txBody>
          <a:bodyPr lIns="91160" tIns="45580" rIns="91160" bIns="4558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4787316" y="1169322"/>
            <a:ext cx="4015167" cy="3221261"/>
          </a:xfrm>
          <a:prstGeom prst="rect">
            <a:avLst/>
          </a:prstGeom>
        </p:spPr>
        <p:txBody>
          <a:bodyPr vert="horz" lIns="91160" tIns="45580" rIns="91160" bIns="4558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83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xmlns:p14="http://schemas.microsoft.com/office/powerpoint/2010/main"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4787316" y="1169322"/>
            <a:ext cx="4015167" cy="3221261"/>
          </a:xfrm>
          <a:prstGeom prst="rect">
            <a:avLst/>
          </a:prstGeom>
        </p:spPr>
        <p:txBody>
          <a:bodyPr vert="horz" lIns="91160" tIns="45580" rIns="91160" bIns="45580"/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55355" y="1169322"/>
            <a:ext cx="4265612" cy="3220908"/>
          </a:xfrm>
          <a:prstGeom prst="rect">
            <a:avLst/>
          </a:prstGeom>
        </p:spPr>
        <p:txBody>
          <a:bodyPr lIns="91160" tIns="45580" rIns="91160" bIns="45580" anchor="ctr" anchorCtr="0"/>
          <a:lstStyle>
            <a:lvl1pPr marL="0" indent="0">
              <a:buNone/>
              <a:defRPr sz="24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258679" y="302421"/>
            <a:ext cx="8659976" cy="728782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bg2"/>
                </a:gs>
                <a:gs pos="93000">
                  <a:schemeClr val="accent5"/>
                </a:gs>
                <a:gs pos="0">
                  <a:schemeClr val="bg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38279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4778525" y="1169322"/>
            <a:ext cx="4015167" cy="3221261"/>
          </a:xfrm>
          <a:prstGeom prst="rect">
            <a:avLst/>
          </a:prstGeom>
        </p:spPr>
        <p:txBody>
          <a:bodyPr vert="horz" lIns="91160" tIns="45580" rIns="91160" bIns="45580">
            <a:noAutofit/>
          </a:bodyPr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55355" y="1169322"/>
            <a:ext cx="4265612" cy="3220908"/>
          </a:xfrm>
          <a:prstGeom prst="rect">
            <a:avLst/>
          </a:prstGeom>
        </p:spPr>
        <p:txBody>
          <a:bodyPr lIns="91160" tIns="45580" rIns="91160" bIns="4558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261938" y="304800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7111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3668713" y="233363"/>
            <a:ext cx="3268136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76" tIns="34189" rIns="68376" bIns="34189" rtlCol="0" anchor="ctr"/>
          <a:lstStyle/>
          <a:p>
            <a:pPr algn="ctr" defTabSz="455870"/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669061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376" tIns="34189" rIns="68376" bIns="34189" rtlCol="0" anchor="ctr" anchorCtr="0">
            <a:normAutofit/>
          </a:bodyPr>
          <a:lstStyle>
            <a:lvl1pPr marL="0" indent="0" algn="ctr" defTabSz="68386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334963" y="233363"/>
            <a:ext cx="3287736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76" tIns="34189" rIns="68376" bIns="34189" rtlCol="0" anchor="ctr"/>
          <a:lstStyle/>
          <a:p>
            <a:pPr algn="ctr" defTabSz="455870"/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20894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376" tIns="34189" rIns="68376" bIns="34189" rtlCol="0" anchor="ctr" anchorCtr="0">
            <a:normAutofit/>
          </a:bodyPr>
          <a:lstStyle>
            <a:lvl1pPr marL="0" indent="0" algn="ctr" defTabSz="68386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76" tIns="34189" rIns="68376" bIns="34189" rtlCol="0" anchor="ctr"/>
          <a:lstStyle/>
          <a:p>
            <a:pPr algn="ctr" defTabSz="455870"/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376" tIns="34189" rIns="68376" bIns="34189" rtlCol="0" anchor="ctr" anchorCtr="0">
            <a:normAutofit/>
          </a:bodyPr>
          <a:lstStyle>
            <a:lvl1pPr marL="0" indent="0" algn="ctr" defTabSz="68386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2" name="Rectangle 51"/>
          <p:cNvSpPr/>
          <p:nvPr/>
        </p:nvSpPr>
        <p:spPr>
          <a:xfrm>
            <a:off x="335035" y="2271784"/>
            <a:ext cx="2523161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76" tIns="34189" rIns="68376" bIns="34189" rtlCol="0" anchor="ctr"/>
          <a:lstStyle/>
          <a:p>
            <a:pPr algn="ctr" defTabSz="455870"/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320824" y="2271784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376" tIns="34189" rIns="68376" bIns="34189" rtlCol="0" anchor="ctr" anchorCtr="0">
            <a:normAutofit/>
          </a:bodyPr>
          <a:lstStyle>
            <a:lvl1pPr marL="0" indent="0" algn="ctr" defTabSz="68386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4" name="Rectangle 53"/>
          <p:cNvSpPr/>
          <p:nvPr/>
        </p:nvSpPr>
        <p:spPr>
          <a:xfrm>
            <a:off x="2911476" y="2271784"/>
            <a:ext cx="4025374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76" tIns="34189" rIns="68376" bIns="34189" rtlCol="0" anchor="ctr"/>
          <a:lstStyle/>
          <a:p>
            <a:pPr algn="ctr" defTabSz="455870"/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2908334" y="2271784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376" tIns="34189" rIns="68376" bIns="34189" rtlCol="0" anchor="ctr" anchorCtr="0">
            <a:normAutofit/>
          </a:bodyPr>
          <a:lstStyle>
            <a:lvl1pPr marL="0" indent="0" algn="ctr" defTabSz="68386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6979833" y="1262815"/>
            <a:ext cx="1838730" cy="258161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76" tIns="34189" rIns="68376" bIns="34189" rtlCol="0" anchor="ctr"/>
          <a:lstStyle/>
          <a:p>
            <a:pPr algn="ctr" defTabSz="455870"/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376" tIns="34189" rIns="68376" bIns="34189" rtlCol="0" anchor="ctr" anchorCtr="0">
            <a:normAutofit/>
          </a:bodyPr>
          <a:lstStyle>
            <a:lvl1pPr marL="0" indent="0" algn="ctr" defTabSz="68386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76" tIns="34189" rIns="68376" bIns="34189" rtlCol="0" anchor="ctr"/>
          <a:lstStyle/>
          <a:p>
            <a:pPr algn="ctr" defTabSz="455870"/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376" tIns="34189" rIns="68376" bIns="34189" rtlCol="0" anchor="ctr" anchorCtr="0">
            <a:normAutofit/>
          </a:bodyPr>
          <a:lstStyle>
            <a:lvl1pPr marL="0" indent="0" algn="ctr" defTabSz="68386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7813257" y="4932106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8660755" y="4929040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292113" y="4916599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7964200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1891875" y="596646"/>
            <a:ext cx="5349240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79" tIns="34190" rIns="68379" bIns="34190" rtlCol="0" anchor="ctr"/>
          <a:lstStyle/>
          <a:p>
            <a:pPr algn="ctr" defTabSz="455870"/>
            <a:endParaRPr lang="en-US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891875" y="3595766"/>
            <a:ext cx="5347552" cy="74727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79" tIns="34190" rIns="68379" bIns="34190" rtlCol="0" anchor="ctr"/>
          <a:lstStyle/>
          <a:p>
            <a:pPr algn="ctr" defTabSz="455870"/>
            <a:endParaRPr lang="en-US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91160" tIns="45580" rIns="91160" bIns="45580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660749" y="4912297"/>
            <a:ext cx="220620" cy="1545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91" tIns="30701" rIns="61391" bIns="30701" anchor="b">
            <a:spAutoFit/>
          </a:bodyPr>
          <a:lstStyle/>
          <a:p>
            <a:pPr algn="r" defTabSz="609088"/>
            <a:fld id="{DFCF27A5-1A5B-48D3-A060-2758FFBB1ADD}" type="slidenum">
              <a:rPr lang="en-US" sz="600">
                <a:solidFill>
                  <a:srgbClr val="272848"/>
                </a:solidFill>
                <a:latin typeface="CiscoSansTT Light"/>
              </a:rPr>
              <a:pPr algn="r" defTabSz="609088"/>
              <a:t>‹#›</a:t>
            </a:fld>
            <a:endParaRPr lang="en-US" sz="6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7813257" y="4932106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8660754" y="4929040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92113" y="4916599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2661733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338329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79" tIns="34190" rIns="68379" bIns="34190" rtlCol="0" anchor="ctr"/>
          <a:lstStyle/>
          <a:p>
            <a:pPr algn="ctr" defTabSz="455870"/>
            <a:endParaRPr lang="en-US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38329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379" tIns="34190" rIns="68379" bIns="34190" rtlCol="0" anchor="ctr" anchorCtr="0">
            <a:normAutofit/>
          </a:bodyPr>
          <a:lstStyle>
            <a:lvl1pPr marL="0" indent="0" algn="ctr" defTabSz="683896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8092" y="2571750"/>
            <a:ext cx="7009298" cy="1066446"/>
          </a:xfrm>
        </p:spPr>
        <p:txBody>
          <a:bodyPr anchor="t">
            <a:noAutofit/>
          </a:bodyPr>
          <a:lstStyle>
            <a:lvl1pPr marL="0" marR="0" indent="0" algn="l" defTabSz="68389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Large photo </a:t>
            </a:r>
            <a:br>
              <a:rPr lang="en-US" dirty="0" smtClean="0"/>
            </a:br>
            <a:r>
              <a:rPr lang="en-US" dirty="0" smtClean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92112" y="4916664"/>
            <a:ext cx="3420515" cy="154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91" tIns="30701" rIns="61391" bIns="30701" anchor="b" anchorCtr="0">
            <a:spAutoFit/>
          </a:bodyPr>
          <a:lstStyle/>
          <a:p>
            <a:pPr defTabSz="609088"/>
            <a:r>
              <a:rPr lang="en-US" sz="600" dirty="0" smtClean="0">
                <a:solidFill>
                  <a:srgbClr val="272848"/>
                </a:solidFill>
                <a:latin typeface="CiscoSansTT Light"/>
              </a:rPr>
              <a:t>© 2013  Cisco and/or its affiliates. All rights reserved.</a:t>
            </a:r>
            <a:endParaRPr lang="en-US" sz="6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660749" y="4912297"/>
            <a:ext cx="220620" cy="1545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91" tIns="30701" rIns="61391" bIns="30701" anchor="b">
            <a:spAutoFit/>
          </a:bodyPr>
          <a:lstStyle/>
          <a:p>
            <a:pPr algn="r" defTabSz="609088"/>
            <a:fld id="{DFCF27A5-1A5B-48D3-A060-2758FFBB1ADD}" type="slidenum">
              <a:rPr lang="en-US" sz="600">
                <a:solidFill>
                  <a:srgbClr val="272848"/>
                </a:solidFill>
                <a:latin typeface="CiscoSansTT Light"/>
              </a:rPr>
              <a:pPr algn="r" defTabSz="609088"/>
              <a:t>‹#›</a:t>
            </a:fld>
            <a:endParaRPr lang="en-US" sz="6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813257" y="4932106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60754" y="4929040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92113" y="4916599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26672858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4992624" y="644652"/>
            <a:ext cx="3630168" cy="3771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79" tIns="34190" rIns="68379" bIns="34190" rtlCol="0" anchor="ctr"/>
          <a:lstStyle/>
          <a:p>
            <a:pPr algn="ctr" defTabSz="455870"/>
            <a:endParaRPr lang="en-US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644652"/>
            <a:ext cx="3630168" cy="3771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91160" tIns="45580" rIns="91160" bIns="45580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54870" y="546800"/>
            <a:ext cx="4349918" cy="813985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65736" y="4916664"/>
            <a:ext cx="3420515" cy="154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91" tIns="30701" rIns="61391" bIns="30701" anchor="b" anchorCtr="0">
            <a:spAutoFit/>
          </a:bodyPr>
          <a:lstStyle/>
          <a:p>
            <a:pPr defTabSz="609088"/>
            <a:r>
              <a:rPr lang="en-US" sz="600" dirty="0" smtClean="0">
                <a:solidFill>
                  <a:srgbClr val="272848"/>
                </a:solidFill>
                <a:latin typeface="CiscoSansTT Light"/>
              </a:rPr>
              <a:t>© 2013  Cisco and/or its affiliates. All rights reserved.</a:t>
            </a:r>
            <a:endParaRPr lang="en-US" sz="6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660749" y="4912297"/>
            <a:ext cx="220620" cy="1545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91" tIns="30701" rIns="61391" bIns="30701" anchor="b">
            <a:spAutoFit/>
          </a:bodyPr>
          <a:lstStyle/>
          <a:p>
            <a:pPr algn="r" defTabSz="609088"/>
            <a:fld id="{DFCF27A5-1A5B-48D3-A060-2758FFBB1ADD}" type="slidenum">
              <a:rPr lang="en-US" sz="600">
                <a:solidFill>
                  <a:srgbClr val="272848"/>
                </a:solidFill>
                <a:latin typeface="CiscoSansTT Light"/>
              </a:rPr>
              <a:pPr algn="r" defTabSz="609088"/>
              <a:t>‹#›</a:t>
            </a:fld>
            <a:endParaRPr lang="en-US" sz="6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7813257" y="4932106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8660754" y="4929040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92113" y="4916599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45538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348" y="0"/>
            <a:ext cx="9144000" cy="5143500"/>
          </a:xfrm>
          <a:prstGeom prst="rect">
            <a:avLst/>
          </a:prstGeom>
        </p:spPr>
        <p:txBody>
          <a:bodyPr vert="horz" lIns="91160" tIns="45580" rIns="91160" bIns="45580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9997063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78" y="240631"/>
            <a:ext cx="8447031" cy="4408370"/>
          </a:xfrm>
          <a:prstGeom prst="rect">
            <a:avLst/>
          </a:prstGeom>
        </p:spPr>
        <p:txBody>
          <a:bodyPr vert="horz" lIns="91160" tIns="45580" rIns="91160" bIns="45580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8586470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144000" cy="4963886"/>
          </a:xfrm>
          <a:prstGeom prst="rect">
            <a:avLst/>
          </a:prstGeom>
        </p:spPr>
        <p:txBody>
          <a:bodyPr vert="horz" lIns="91160" tIns="45580" rIns="91160" bIns="45580"/>
          <a:lstStyle>
            <a:lvl1pPr marL="0" indent="0" algn="ctr">
              <a:buNone/>
              <a:defRPr sz="15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3008351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562609"/>
            <a:ext cx="8301718" cy="256994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258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2916766" y="582930"/>
            <a:ext cx="5899416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376" tIns="34189" rIns="68376" bIns="34189" rtlCol="0" anchor="ctr">
            <a:normAutofit/>
          </a:bodyPr>
          <a:lstStyle>
            <a:lvl1pPr marL="0" indent="0" algn="ctr" defTabSz="68386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 smtClean="0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7813257" y="4932106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8660755" y="4929040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292113" y="4916599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3500380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4391620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376" tIns="34189" rIns="68376" bIns="34189" rtlCol="0" anchor="ctr">
            <a:normAutofit/>
          </a:bodyPr>
          <a:lstStyle>
            <a:lvl1pPr marL="0" indent="0" algn="ctr" defTabSz="68386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 smtClean="0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7813257" y="4932106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8660755" y="4929040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92113" y="4916599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7550802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bg2"/>
                </a:gs>
                <a:gs pos="93000">
                  <a:schemeClr val="accent5"/>
                </a:gs>
                <a:gs pos="0">
                  <a:schemeClr val="bg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77426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bg2"/>
                </a:gs>
                <a:gs pos="93000">
                  <a:schemeClr val="accent5"/>
                </a:gs>
                <a:gs pos="0">
                  <a:schemeClr val="bg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94305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Blank_gradient only">
    <p:bg>
      <p:bgPr>
        <a:gradFill>
          <a:gsLst>
            <a:gs pos="33000">
              <a:schemeClr val="bg2"/>
            </a:gs>
            <a:gs pos="0">
              <a:srgbClr val="272749"/>
            </a:gs>
            <a:gs pos="93000">
              <a:srgbClr val="EE402F"/>
            </a:gs>
            <a:gs pos="100000">
              <a:srgbClr val="F37528"/>
            </a:gs>
          </a:gsLst>
          <a:lin ang="1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bg2"/>
                </a:gs>
                <a:gs pos="93000">
                  <a:schemeClr val="accent5"/>
                </a:gs>
                <a:gs pos="0">
                  <a:schemeClr val="bg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08152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_gradient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22836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bg>
      <p:bgPr>
        <a:gradFill>
          <a:gsLst>
            <a:gs pos="33000">
              <a:schemeClr val="bg2"/>
            </a:gs>
            <a:gs pos="0">
              <a:srgbClr val="272749"/>
            </a:gs>
            <a:gs pos="93000">
              <a:srgbClr val="EE402F"/>
            </a:gs>
            <a:gs pos="100000">
              <a:srgbClr val="F37528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3947936" y="4088874"/>
            <a:ext cx="1240920" cy="659747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0306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bg>
      <p:bgPr>
        <a:gradFill>
          <a:gsLst>
            <a:gs pos="33000">
              <a:schemeClr val="bg2"/>
            </a:gs>
            <a:gs pos="0">
              <a:srgbClr val="272749"/>
            </a:gs>
            <a:gs pos="93000">
              <a:srgbClr val="EE402F"/>
            </a:gs>
            <a:gs pos="100000">
              <a:srgbClr val="F37528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626132" y="2300067"/>
            <a:ext cx="2467342" cy="646331"/>
          </a:xfrm>
          <a:prstGeom prst="rect">
            <a:avLst/>
          </a:prstGeom>
          <a:noFill/>
        </p:spPr>
        <p:txBody>
          <a:bodyPr wrap="none" lIns="91160" tIns="45580" rIns="91160" bIns="45580" rtlCol="0">
            <a:spAutoFit/>
          </a:bodyPr>
          <a:lstStyle/>
          <a:p>
            <a:pPr defTabSz="455870"/>
            <a:r>
              <a:rPr lang="en-US" sz="3600" dirty="0" smtClean="0">
                <a:solidFill>
                  <a:srgbClr val="FFFFFF"/>
                </a:solidFill>
                <a:latin typeface="CiscoSansTT ExtraLight"/>
              </a:rPr>
              <a:t>Thank you.</a:t>
            </a:r>
            <a:endParaRPr lang="en-US" sz="3600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6286242" y="2851233"/>
            <a:ext cx="116616" cy="44182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6965595" y="2840186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5798084" y="2840186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7425276" y="2840186"/>
            <a:ext cx="463750" cy="466297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6553371" y="2840186"/>
            <a:ext cx="302387" cy="466297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5566278" y="2225010"/>
            <a:ext cx="109835" cy="22703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5874087" y="2072820"/>
            <a:ext cx="109835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6176477" y="1863462"/>
            <a:ext cx="109835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6484286" y="2072752"/>
            <a:ext cx="109835" cy="3792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6785247" y="2225012"/>
            <a:ext cx="116616" cy="22703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7093060" y="207275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7400872" y="1863393"/>
            <a:ext cx="111191" cy="698766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7703257" y="207275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8011068" y="2225012"/>
            <a:ext cx="111191" cy="22703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49485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3947936" y="4088874"/>
            <a:ext cx="1240920" cy="659747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0865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21462" y="940780"/>
            <a:ext cx="8694007" cy="287867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2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hanks</a:t>
            </a:r>
            <a:endParaRPr lang="en-US" dirty="0"/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3947936" y="4088874"/>
            <a:ext cx="1240920" cy="659747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386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bg2"/>
                </a:gs>
                <a:gs pos="93000">
                  <a:schemeClr val="accent5"/>
                </a:gs>
                <a:gs pos="0">
                  <a:schemeClr val="bg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607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562609"/>
            <a:ext cx="8301718" cy="256994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42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626132" y="2300067"/>
            <a:ext cx="2467342" cy="646331"/>
          </a:xfrm>
          <a:prstGeom prst="rect">
            <a:avLst/>
          </a:prstGeom>
          <a:noFill/>
        </p:spPr>
        <p:txBody>
          <a:bodyPr wrap="none" lIns="91160" tIns="45580" rIns="91160" bIns="45580" rtlCol="0">
            <a:spAutoFit/>
          </a:bodyPr>
          <a:lstStyle/>
          <a:p>
            <a:pPr defTabSz="455870"/>
            <a:r>
              <a:rPr lang="en-US" sz="3600" dirty="0" smtClean="0">
                <a:solidFill>
                  <a:srgbClr val="FFFFFF"/>
                </a:solidFill>
                <a:latin typeface="CiscoSansTT ExtraLight"/>
              </a:rPr>
              <a:t>Thank you.</a:t>
            </a:r>
            <a:endParaRPr lang="en-US" sz="3600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6286242" y="2851233"/>
            <a:ext cx="116616" cy="44182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6965595" y="2840186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5798084" y="2840186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7425276" y="2840186"/>
            <a:ext cx="463750" cy="466297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6553371" y="2840186"/>
            <a:ext cx="302387" cy="466297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5566278" y="2225010"/>
            <a:ext cx="109835" cy="22703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5874087" y="2072820"/>
            <a:ext cx="109835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6176477" y="1863462"/>
            <a:ext cx="109835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6484286" y="2072752"/>
            <a:ext cx="109835" cy="3792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6785247" y="2225012"/>
            <a:ext cx="116616" cy="22703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7093060" y="207275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7400872" y="1863393"/>
            <a:ext cx="111191" cy="698766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7703257" y="207275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8011068" y="2225012"/>
            <a:ext cx="111191" cy="22703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160" tIns="45580" rIns="91160" bIns="45580"/>
          <a:lstStyle/>
          <a:p>
            <a:pPr defTabSz="455870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25868662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352257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5456" y="1249964"/>
            <a:ext cx="8582751" cy="3266034"/>
          </a:xfrm>
          <a:prstGeom prst="rect">
            <a:avLst/>
          </a:prstGeom>
        </p:spPr>
        <p:txBody>
          <a:bodyPr lIns="91348" tIns="45674" rIns="91348" bIns="45674">
            <a:noAutofit/>
          </a:bodyPr>
          <a:lstStyle>
            <a:lvl1pPr marL="288649" indent="-231566">
              <a:lnSpc>
                <a:spcPct val="95000"/>
              </a:lnSpc>
              <a:spcBef>
                <a:spcPts val="1110"/>
              </a:spcBef>
              <a:buClr>
                <a:schemeClr val="bg1"/>
              </a:buClr>
              <a:buSzPct val="80000"/>
              <a:buFont typeface="Wingdings" panose="05000000000000000000" pitchFamily="2" charset="2"/>
              <a:buChar char="§"/>
              <a:defRPr sz="20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 marL="517042" indent="-215693">
              <a:lnSpc>
                <a:spcPct val="95000"/>
              </a:lnSpc>
              <a:spcBef>
                <a:spcPts val="450"/>
              </a:spcBef>
              <a:buClr>
                <a:schemeClr val="bg1"/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bg1"/>
                </a:solidFill>
                <a:latin typeface="+mn-lt"/>
                <a:cs typeface="CiscoSans ExtraLight"/>
              </a:defRPr>
            </a:lvl2pPr>
            <a:lvl3pPr marL="748587" indent="-171289">
              <a:buClr>
                <a:schemeClr val="bg1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bg1"/>
                </a:solidFill>
                <a:latin typeface="+mn-lt"/>
                <a:cs typeface="CiscoSans ExtraLight"/>
              </a:defRPr>
            </a:lvl3pPr>
            <a:lvl4pPr marL="918275" indent="-171289">
              <a:buClr>
                <a:schemeClr val="bg1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bg1"/>
                </a:solidFill>
                <a:latin typeface="+mn-lt"/>
                <a:cs typeface="CiscoSans ExtraLight"/>
              </a:defRPr>
            </a:lvl4pPr>
            <a:lvl5pPr marL="1081640" indent="-171289">
              <a:buClr>
                <a:schemeClr val="bg1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bg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6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5" name="Rectangle 5"/>
          <p:cNvSpPr>
            <a:spLocks noChangeArrowheads="1"/>
          </p:cNvSpPr>
          <p:nvPr userDrawn="1"/>
        </p:nvSpPr>
        <p:spPr bwMode="ltGray">
          <a:xfrm>
            <a:off x="7805299" y="4742125"/>
            <a:ext cx="770375" cy="158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29" tIns="30764" rIns="61529" bIns="30764" anchor="b">
            <a:spAutoFit/>
          </a:bodyPr>
          <a:lstStyle/>
          <a:p>
            <a:pPr algn="r" defTabSz="610260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59013" y="4739047"/>
            <a:ext cx="222356" cy="1583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29" tIns="30764" rIns="61529" bIns="30764" anchor="b">
            <a:spAutoFit/>
          </a:bodyPr>
          <a:lstStyle/>
          <a:p>
            <a:pPr algn="r" defTabSz="610260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260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92067" y="4743427"/>
            <a:ext cx="3420515" cy="158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29" tIns="30764" rIns="61529" bIns="30764" anchor="b" anchorCtr="0">
            <a:spAutoFit/>
          </a:bodyPr>
          <a:lstStyle/>
          <a:p>
            <a:pPr defTabSz="610260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245620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59117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1498" y="1200160"/>
            <a:ext cx="8659976" cy="3394075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285678" marR="0" indent="-285678" algn="ctr" defTabSz="4570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4570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 smtClean="0"/>
              <a:t>This slide will allow you to add one of the following:</a:t>
            </a:r>
            <a:br>
              <a:rPr lang="en-GB" dirty="0" smtClean="0"/>
            </a:br>
            <a:r>
              <a:rPr lang="en-GB" dirty="0" smtClean="0"/>
              <a:t>Table, Charts, Smart Art, Pictures, Clip Art and Media</a:t>
            </a:r>
            <a:br>
              <a:rPr lang="en-GB" dirty="0" smtClean="0"/>
            </a:br>
            <a:r>
              <a:rPr lang="en-GB" dirty="0" smtClean="0"/>
              <a:t>Click icon to add content</a:t>
            </a: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729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xmlns:p14="http://schemas.microsoft.com/office/powerpoint/2010/main"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59117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1498" y="1200160"/>
            <a:ext cx="8659976" cy="3394075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285678" marR="0" indent="-285678" algn="l" defTabSz="4570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4570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 smtClean="0"/>
              <a:t>This slide will allow you to add one of the following:</a:t>
            </a:r>
            <a:br>
              <a:rPr lang="en-GB" dirty="0" smtClean="0"/>
            </a:br>
            <a:r>
              <a:rPr lang="en-GB" dirty="0" smtClean="0"/>
              <a:t>Table, Charts, Smart Art, Pictures, Clip Art and Media</a:t>
            </a:r>
            <a:br>
              <a:rPr lang="en-GB" dirty="0" smtClean="0"/>
            </a:br>
            <a:r>
              <a:rPr lang="en-GB" dirty="0" smtClean="0"/>
              <a:t>Click icon to add content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9444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xmlns:p14="http://schemas.microsoft.com/office/powerpoint/2010/main"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5464" y="1249964"/>
            <a:ext cx="8582751" cy="3266034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280916" indent="-223783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74" indent="-215846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47527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0997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082405" indent="-16823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706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5457" y="1249964"/>
            <a:ext cx="4169632" cy="3266034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228546" indent="-171408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086" indent="-215846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494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01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07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40994" y="1249964"/>
            <a:ext cx="4169632" cy="3266034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228546" indent="-171408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086" indent="-215846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494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01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07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21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45457" y="1249964"/>
            <a:ext cx="4169632" cy="3266034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233307" indent="-171408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892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 slide that uses more content than the standard bullet slide will allow</a:t>
            </a:r>
          </a:p>
          <a:p>
            <a:pPr lvl="2"/>
            <a:r>
              <a:rPr lang="en-US" dirty="0" smtClean="0"/>
              <a:t>This is where all the second level information is</a:t>
            </a:r>
            <a:br>
              <a:rPr lang="en-US" dirty="0" smtClean="0"/>
            </a:br>
            <a:r>
              <a:rPr lang="en-US" dirty="0" smtClean="0"/>
              <a:t>placed if you choose to have an outline</a:t>
            </a:r>
          </a:p>
          <a:p>
            <a:pPr lvl="2"/>
            <a:r>
              <a:rPr lang="en-US" dirty="0" smtClean="0"/>
              <a:t>Here is another bullet point</a:t>
            </a:r>
          </a:p>
          <a:p>
            <a:r>
              <a:rPr lang="en-US" dirty="0" smtClean="0"/>
              <a:t>First level bullets are 14 point and</a:t>
            </a:r>
            <a:br>
              <a:rPr lang="en-US" dirty="0" smtClean="0"/>
            </a:br>
            <a:r>
              <a:rPr lang="en-US" dirty="0" smtClean="0"/>
              <a:t>use an actual bullet point</a:t>
            </a:r>
          </a:p>
          <a:p>
            <a:pPr lvl="2"/>
            <a:r>
              <a:rPr lang="en-US" dirty="0" smtClean="0"/>
              <a:t>Second level bullets are 12 points in size</a:t>
            </a:r>
          </a:p>
          <a:p>
            <a:pPr lvl="2"/>
            <a:r>
              <a:rPr lang="en-US" dirty="0" smtClean="0"/>
              <a:t>It’s important to keep consistency </a:t>
            </a:r>
          </a:p>
          <a:p>
            <a:r>
              <a:rPr lang="en-US" dirty="0" smtClean="0"/>
              <a:t>If you are using this type of slide in your presentation, you are probably creating</a:t>
            </a:r>
            <a:br>
              <a:rPr lang="en-US" dirty="0" smtClean="0"/>
            </a:br>
            <a:r>
              <a:rPr lang="en-US" dirty="0" smtClean="0"/>
              <a:t>a document that should be printed and</a:t>
            </a:r>
            <a:br>
              <a:rPr lang="en-US" dirty="0" smtClean="0"/>
            </a:br>
            <a:r>
              <a:rPr lang="en-US" dirty="0" smtClean="0"/>
              <a:t>passed out to your audience</a:t>
            </a:r>
          </a:p>
          <a:p>
            <a:endParaRPr lang="en-US" dirty="0" smtClean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640994" y="1249964"/>
            <a:ext cx="4169632" cy="3266034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223783" indent="-171408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892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 slide that uses more content than the standard bullet slide will allow</a:t>
            </a:r>
          </a:p>
          <a:p>
            <a:pPr lvl="2"/>
            <a:r>
              <a:rPr lang="en-US" dirty="0" smtClean="0"/>
              <a:t>This is where all the second level information is</a:t>
            </a:r>
            <a:br>
              <a:rPr lang="en-US" dirty="0" smtClean="0"/>
            </a:br>
            <a:r>
              <a:rPr lang="en-US" dirty="0" smtClean="0"/>
              <a:t>placed if you choose to have an outline</a:t>
            </a:r>
          </a:p>
          <a:p>
            <a:pPr lvl="2"/>
            <a:r>
              <a:rPr lang="en-US" dirty="0" smtClean="0"/>
              <a:t>Here is another bullet point</a:t>
            </a:r>
          </a:p>
          <a:p>
            <a:r>
              <a:rPr lang="en-US" dirty="0" smtClean="0"/>
              <a:t>First level bullets are 14 point and</a:t>
            </a:r>
            <a:br>
              <a:rPr lang="en-US" dirty="0" smtClean="0"/>
            </a:br>
            <a:r>
              <a:rPr lang="en-US" dirty="0" smtClean="0"/>
              <a:t>use an actual bullet point</a:t>
            </a:r>
          </a:p>
          <a:p>
            <a:pPr lvl="2"/>
            <a:r>
              <a:rPr lang="en-US" dirty="0" smtClean="0"/>
              <a:t>Second level bullets are 12 points in size</a:t>
            </a:r>
          </a:p>
          <a:p>
            <a:pPr lvl="2"/>
            <a:r>
              <a:rPr lang="en-US" dirty="0" smtClean="0"/>
              <a:t>It’s important to keep consistency </a:t>
            </a:r>
          </a:p>
          <a:p>
            <a:r>
              <a:rPr lang="en-US" dirty="0" smtClean="0"/>
              <a:t>If you are using this type of slide in your presentation, you are probably creating</a:t>
            </a:r>
            <a:br>
              <a:rPr lang="en-US" dirty="0" smtClean="0"/>
            </a:br>
            <a:r>
              <a:rPr lang="en-US" dirty="0" smtClean="0"/>
              <a:t>a document that should be printed and</a:t>
            </a:r>
            <a:br>
              <a:rPr lang="en-US" dirty="0" smtClean="0"/>
            </a:br>
            <a:r>
              <a:rPr lang="en-US" dirty="0" smtClean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3930852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5143103" y="1229803"/>
            <a:ext cx="3623212" cy="3306356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457086"/>
            <a:endParaRPr lang="en-US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221224" y="1310773"/>
            <a:ext cx="3236976" cy="1830001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85715" indent="-85715" algn="l" defTabSz="685691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85715" indent="-85715" algn="l" defTabSz="685691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5" indent="-85715" algn="l" defTabSz="685691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5" indent="-85715" algn="l" defTabSz="685691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5" indent="-85715" algn="l" defTabSz="685691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299806" y="3552444"/>
            <a:ext cx="3326071" cy="253746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 smtClean="0"/>
              <a:t>Source Name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259741" y="302421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ull Quot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45457" y="1249964"/>
            <a:ext cx="4169632" cy="3266034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233307" indent="-171408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5499" indent="-190452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</a:t>
            </a:r>
            <a:br>
              <a:rPr lang="en-US" dirty="0" smtClean="0"/>
            </a:br>
            <a:r>
              <a:rPr lang="en-US" dirty="0" smtClean="0"/>
              <a:t>slide with a pull quote</a:t>
            </a:r>
          </a:p>
          <a:p>
            <a:pPr lvl="1"/>
            <a:r>
              <a:rPr lang="en-US" dirty="0" smtClean="0"/>
              <a:t>This is where all the second level </a:t>
            </a:r>
            <a:br>
              <a:rPr lang="en-US" dirty="0" smtClean="0"/>
            </a:br>
            <a:r>
              <a:rPr lang="en-US" dirty="0" smtClean="0"/>
              <a:t>information goes</a:t>
            </a:r>
          </a:p>
          <a:p>
            <a:pPr lvl="1"/>
            <a:r>
              <a:rPr lang="en-US" dirty="0" smtClean="0"/>
              <a:t>This is another bullet point</a:t>
            </a:r>
          </a:p>
          <a:p>
            <a:r>
              <a:rPr lang="en-US" dirty="0" smtClean="0"/>
              <a:t>First level bullets are 16 points</a:t>
            </a:r>
            <a:br>
              <a:rPr lang="en-US" dirty="0" smtClean="0"/>
            </a:br>
            <a:r>
              <a:rPr lang="en-US" dirty="0" smtClean="0"/>
              <a:t>and use a bullet point</a:t>
            </a:r>
          </a:p>
          <a:p>
            <a:pPr lvl="1"/>
            <a:r>
              <a:rPr lang="en-US" dirty="0" smtClean="0"/>
              <a:t>Second level bullets are 14 points in size</a:t>
            </a:r>
          </a:p>
          <a:p>
            <a:pPr lvl="1"/>
            <a:r>
              <a:rPr lang="en-US" dirty="0" smtClean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2216651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xmlns:p14="http://schemas.microsoft.com/office/powerpoint/2010/main"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Same Side Corner Rectangle 2"/>
          <p:cNvSpPr/>
          <p:nvPr userDrawn="1"/>
        </p:nvSpPr>
        <p:spPr>
          <a:xfrm rot="10800000" flipV="1">
            <a:off x="1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Round Same Side Corner Rectangle 14"/>
          <p:cNvSpPr/>
          <p:nvPr userDrawn="1"/>
        </p:nvSpPr>
        <p:spPr>
          <a:xfrm rot="10800000">
            <a:off x="7340572" y="27857"/>
            <a:ext cx="1032389" cy="219456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Round Same Side Corner Rectangle 15"/>
          <p:cNvSpPr/>
          <p:nvPr userDrawn="1"/>
        </p:nvSpPr>
        <p:spPr>
          <a:xfrm rot="10800000">
            <a:off x="8014980" y="27857"/>
            <a:ext cx="1032389" cy="118872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50000"/>
              <a:alpha val="17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48353" y="1314490"/>
            <a:ext cx="4913195" cy="492919"/>
          </a:xfrm>
          <a:prstGeom prst="roundRect">
            <a:avLst/>
          </a:prstGeom>
          <a:gradFill flip="none" rotWithShape="1">
            <a:gsLst>
              <a:gs pos="42000">
                <a:schemeClr val="bg2">
                  <a:alpha val="70000"/>
                </a:schemeClr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>
            <a:lvl1pPr marL="0" indent="0">
              <a:buFontTx/>
              <a:buNone/>
              <a:defRPr lang="en-US" dirty="0">
                <a:solidFill>
                  <a:srgbClr val="4D4D4D"/>
                </a:solidFill>
                <a:latin typeface="+mn-lt"/>
              </a:defRPr>
            </a:lvl1pPr>
          </a:lstStyle>
          <a:p>
            <a:pPr marL="400050" lvl="0" indent="-400050"/>
            <a:r>
              <a:rPr lang="en-US" dirty="0" smtClean="0"/>
              <a:t>Title 01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48353" y="2033602"/>
            <a:ext cx="4913195" cy="492919"/>
          </a:xfrm>
          <a:prstGeom prst="roundRect">
            <a:avLst/>
          </a:prstGeom>
          <a:gradFill flip="none" rotWithShape="1">
            <a:gsLst>
              <a:gs pos="42000">
                <a:schemeClr val="bg2">
                  <a:alpha val="70000"/>
                </a:schemeClr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>
            <a:lvl1pPr marL="0" indent="0">
              <a:buFontTx/>
              <a:buNone/>
              <a:defRPr lang="en-US" dirty="0">
                <a:solidFill>
                  <a:srgbClr val="4D4D4D"/>
                </a:solidFill>
                <a:latin typeface="+mn-lt"/>
              </a:defRPr>
            </a:lvl1pPr>
          </a:lstStyle>
          <a:p>
            <a:pPr marL="400050" lvl="0" indent="-400050"/>
            <a:r>
              <a:rPr lang="en-US" dirty="0" smtClean="0"/>
              <a:t>Title 02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62001" y="2752714"/>
            <a:ext cx="4913195" cy="492919"/>
          </a:xfrm>
          <a:prstGeom prst="roundRect">
            <a:avLst/>
          </a:prstGeom>
          <a:gradFill flip="none" rotWithShape="1">
            <a:gsLst>
              <a:gs pos="42000">
                <a:schemeClr val="bg2">
                  <a:alpha val="70000"/>
                </a:schemeClr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>
            <a:lvl1pPr marL="0" indent="0">
              <a:buFontTx/>
              <a:buNone/>
              <a:defRPr lang="en-US" dirty="0">
                <a:solidFill>
                  <a:srgbClr val="4D4D4D"/>
                </a:solidFill>
                <a:latin typeface="+mn-lt"/>
              </a:defRPr>
            </a:lvl1pPr>
          </a:lstStyle>
          <a:p>
            <a:pPr marL="400050" lvl="0" indent="-400050"/>
            <a:r>
              <a:rPr lang="en-US" dirty="0" smtClean="0"/>
              <a:t>Title 03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62001" y="3471826"/>
            <a:ext cx="4913195" cy="492919"/>
          </a:xfrm>
          <a:prstGeom prst="roundRect">
            <a:avLst/>
          </a:prstGeom>
          <a:gradFill flip="none" rotWithShape="1">
            <a:gsLst>
              <a:gs pos="42000">
                <a:schemeClr val="bg2">
                  <a:alpha val="70000"/>
                </a:schemeClr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>
            <a:lvl1pPr marL="0" indent="0">
              <a:buFontTx/>
              <a:buNone/>
              <a:defRPr lang="en-US" dirty="0">
                <a:solidFill>
                  <a:srgbClr val="4D4D4D"/>
                </a:solidFill>
                <a:latin typeface="+mn-lt"/>
              </a:defRPr>
            </a:lvl1pPr>
          </a:lstStyle>
          <a:p>
            <a:pPr marL="400050" lvl="0" indent="-400050"/>
            <a:r>
              <a:rPr lang="en-US" dirty="0" smtClean="0"/>
              <a:t>Title 04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70015" y="39161"/>
            <a:ext cx="4999512" cy="62865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0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genda (Animated)</a:t>
            </a:r>
            <a:endParaRPr lang="en-US" dirty="0"/>
          </a:p>
        </p:txBody>
      </p:sp>
      <p:pic>
        <p:nvPicPr>
          <p:cNvPr id="14" name="Picture 13" descr="first-slide_v8-2-wom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6541215" y="948266"/>
            <a:ext cx="2602784" cy="4195233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7366001" y="25796"/>
            <a:ext cx="1637318" cy="83099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914400"/>
            <a:r>
              <a:rPr lang="en-US" sz="2400" dirty="0">
                <a:solidFill>
                  <a:srgbClr val="FFFFFF"/>
                </a:solidFill>
                <a:latin typeface="Arial Narrow" pitchFamily="34" charset="0"/>
              </a:rPr>
              <a:t>Talent Management</a:t>
            </a:r>
            <a:endParaRPr lang="en-GB" sz="2400" dirty="0">
              <a:solidFill>
                <a:srgbClr val="FFFFF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139084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 animBg="1">
        <p:tmplLst>
          <p:tmpl>
            <p:tnLst>
              <p:par>
                <p:cTn xmlns:p14="http://schemas.microsoft.com/office/powerpoint/2010/main"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p" animBg="1">
        <p:tmplLst>
          <p:tmpl>
            <p:tnLst>
              <p:par>
                <p:cTn xmlns:p14="http://schemas.microsoft.com/office/powerpoint/2010/main"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 animBg="1">
        <p:tmplLst>
          <p:tmpl>
            <p:tnLst>
              <p:par>
                <p:cTn xmlns:p14="http://schemas.microsoft.com/office/powerpoint/2010/main"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 animBg="1">
        <p:tmplLst>
          <p:tmpl>
            <p:tnLst>
              <p:par>
                <p:cTn xmlns:p14="http://schemas.microsoft.com/office/powerpoint/2010/main"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166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4430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1786" y="302506"/>
            <a:ext cx="4005072" cy="628650"/>
          </a:xfrm>
          <a:prstGeom prst="rect">
            <a:avLst/>
          </a:prstGeom>
        </p:spPr>
        <p:txBody>
          <a:bodyPr vert="horz" lIns="61709" tIns="34285" rIns="61709" bIns="34285" rtlCol="0" anchor="t" anchorCtr="0">
            <a:noAutofit/>
          </a:bodyPr>
          <a:lstStyle>
            <a:lvl1pPr algn="l" defTabSz="68569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500" b="0" i="0" kern="1200" spc="-75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51539" y="1200150"/>
            <a:ext cx="4005072" cy="3394710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6174" indent="-171424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 smtClean="0"/>
              <a:t>Body copy uses sentence capital letters only, size 16, left aligned</a:t>
            </a:r>
          </a:p>
          <a:p>
            <a:pPr lvl="1"/>
            <a:r>
              <a:rPr lang="en-US" dirty="0" smtClean="0"/>
              <a:t>Sub-bullets are size 14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818888" y="1200150"/>
            <a:ext cx="4005072" cy="3394710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6174" indent="-171424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 smtClean="0"/>
              <a:t>Body copy uses sentence capital letters only, size 16, left aligned</a:t>
            </a:r>
          </a:p>
          <a:p>
            <a:pPr lvl="1"/>
            <a:r>
              <a:rPr lang="en-US" dirty="0" smtClean="0"/>
              <a:t>Sub-bullets are size 14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822429" y="302506"/>
            <a:ext cx="4005072" cy="630936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0" marR="0" indent="0" algn="l" defTabSz="6856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500" b="0" i="0" kern="1200" spc="-75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6856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Right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600575" y="609611"/>
            <a:ext cx="0" cy="398525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8059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19516" y="75438"/>
            <a:ext cx="2668457" cy="864108"/>
          </a:xfrm>
          <a:prstGeom prst="rect">
            <a:avLst/>
          </a:prstGeom>
        </p:spPr>
        <p:txBody>
          <a:bodyPr lIns="91416" tIns="45708" rIns="91416" bIns="45708" anchor="b" anchorCtr="0">
            <a:noAutofit/>
          </a:bodyPr>
          <a:lstStyle>
            <a:lvl1pPr marL="0" marR="0" indent="0" algn="l" defTabSz="6856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6856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258407" y="75438"/>
            <a:ext cx="2599859" cy="864108"/>
          </a:xfrm>
          <a:prstGeom prst="rect">
            <a:avLst/>
          </a:prstGeom>
        </p:spPr>
        <p:txBody>
          <a:bodyPr lIns="91416" tIns="45708" rIns="91416" bIns="45708" anchor="b" anchorCtr="0">
            <a:noAutofit/>
          </a:bodyPr>
          <a:lstStyle>
            <a:lvl1pPr marL="0" marR="0" indent="0" algn="l" defTabSz="6856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6856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6272202" y="75438"/>
            <a:ext cx="2634158" cy="864108"/>
          </a:xfrm>
          <a:prstGeom prst="rect">
            <a:avLst/>
          </a:prstGeom>
        </p:spPr>
        <p:txBody>
          <a:bodyPr lIns="91416" tIns="45708" rIns="91416" bIns="45708" anchor="b" anchorCtr="0">
            <a:noAutofit/>
          </a:bodyPr>
          <a:lstStyle>
            <a:lvl1pPr marL="0" marR="0" indent="0" algn="l" defTabSz="6856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68569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19516" y="1201574"/>
            <a:ext cx="2668457" cy="3336008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223783" indent="-171408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03124" indent="-190452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569769" indent="-166646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45939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0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17347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9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692353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6272202" y="1183948"/>
            <a:ext cx="2634158" cy="3336008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171431" indent="-17143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359910" indent="-215946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572944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45939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0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17347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9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692353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3258407" y="1201574"/>
            <a:ext cx="2599859" cy="3336008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171431" indent="-17143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344399" indent="-176168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514224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687216" indent="-17140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0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855447" indent="-16823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9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692353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076575" y="609610"/>
            <a:ext cx="0" cy="398525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6067425" y="609610"/>
            <a:ext cx="0" cy="398525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7047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4365149"/>
            <a:ext cx="7461250" cy="207749"/>
          </a:xfrm>
          <a:prstGeom prst="rect">
            <a:avLst/>
          </a:prstGeom>
        </p:spPr>
        <p:txBody>
          <a:bodyPr wrap="square" lIns="91416" tIns="45708" rIns="91416" bIns="45708" anchor="b" anchorCtr="0">
            <a:noAutofit/>
          </a:bodyPr>
          <a:lstStyle>
            <a:lvl1pPr marL="0" indent="0" algn="l" defTabSz="6035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54841" y="940720"/>
            <a:ext cx="8168270" cy="2878673"/>
          </a:xfrm>
          <a:prstGeom prst="rect">
            <a:avLst/>
          </a:prstGeom>
        </p:spPr>
        <p:txBody>
          <a:bodyPr>
            <a:noAutofit/>
          </a:bodyPr>
          <a:lstStyle>
            <a:lvl1pPr marL="399951" indent="-399951" algn="l">
              <a:lnSpc>
                <a:spcPct val="90000"/>
              </a:lnSpc>
              <a:defRPr sz="6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380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54841" y="940720"/>
            <a:ext cx="8168270" cy="2878673"/>
          </a:xfrm>
          <a:prstGeom prst="rect">
            <a:avLst/>
          </a:prstGeom>
        </p:spPr>
        <p:txBody>
          <a:bodyPr>
            <a:noAutofit/>
          </a:bodyPr>
          <a:lstStyle>
            <a:lvl1pPr marL="403124" indent="-403124" algn="l">
              <a:lnSpc>
                <a:spcPct val="90000"/>
              </a:lnSpc>
              <a:defRPr sz="6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24013" y="4365149"/>
            <a:ext cx="7461250" cy="207749"/>
          </a:xfrm>
          <a:prstGeom prst="rect">
            <a:avLst/>
          </a:prstGeom>
        </p:spPr>
        <p:txBody>
          <a:bodyPr wrap="square" lIns="91416" tIns="45708" rIns="91416" bIns="45708" anchor="b" anchorCtr="0">
            <a:noAutofit/>
          </a:bodyPr>
          <a:lstStyle>
            <a:lvl1pPr marL="0" indent="0" algn="l" defTabSz="6035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939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4365149"/>
            <a:ext cx="7461250" cy="207749"/>
          </a:xfrm>
          <a:prstGeom prst="rect">
            <a:avLst/>
          </a:prstGeom>
        </p:spPr>
        <p:txBody>
          <a:bodyPr wrap="square" lIns="91416" tIns="45708" rIns="91416" bIns="45708" anchor="b" anchorCtr="0">
            <a:noAutofit/>
          </a:bodyPr>
          <a:lstStyle>
            <a:lvl1pPr marL="0" indent="0" algn="l" defTabSz="6035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54841" y="940720"/>
            <a:ext cx="8168270" cy="2878673"/>
          </a:xfrm>
          <a:prstGeom prst="rect">
            <a:avLst/>
          </a:prstGeom>
        </p:spPr>
        <p:txBody>
          <a:bodyPr>
            <a:noAutofit/>
          </a:bodyPr>
          <a:lstStyle>
            <a:lvl1pPr marL="403124" indent="-403124" algn="l">
              <a:lnSpc>
                <a:spcPct val="90000"/>
              </a:lnSpc>
              <a:defRPr sz="6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627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Quot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4365149"/>
            <a:ext cx="7461250" cy="207749"/>
          </a:xfrm>
          <a:prstGeom prst="rect">
            <a:avLst/>
          </a:prstGeom>
        </p:spPr>
        <p:txBody>
          <a:bodyPr wrap="square" lIns="91416" tIns="45708" rIns="91416" bIns="45708" anchor="b" anchorCtr="0">
            <a:noAutofit/>
          </a:bodyPr>
          <a:lstStyle>
            <a:lvl1pPr marL="0" indent="0" algn="l" defTabSz="6035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54841" y="940720"/>
            <a:ext cx="8168270" cy="2878673"/>
          </a:xfrm>
          <a:prstGeom prst="rect">
            <a:avLst/>
          </a:prstGeom>
        </p:spPr>
        <p:txBody>
          <a:bodyPr>
            <a:noAutofit/>
          </a:bodyPr>
          <a:lstStyle>
            <a:lvl1pPr marL="403124" indent="-403124" algn="l">
              <a:lnSpc>
                <a:spcPct val="90000"/>
              </a:lnSpc>
              <a:defRPr sz="6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934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21394" y="940720"/>
            <a:ext cx="8301718" cy="2878673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230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70%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7" y="4365149"/>
            <a:ext cx="7461250" cy="207749"/>
          </a:xfrm>
          <a:prstGeom prst="rect">
            <a:avLst/>
          </a:prstGeom>
        </p:spPr>
        <p:txBody>
          <a:bodyPr wrap="square" lIns="91416" tIns="45708" rIns="91416" bIns="45708" anchor="b" anchorCtr="0">
            <a:noAutofit/>
          </a:bodyPr>
          <a:lstStyle>
            <a:lvl1pPr marL="0" indent="0" algn="l" defTabSz="6035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82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21394" y="940720"/>
            <a:ext cx="8301718" cy="2878673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230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70%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7" y="4365149"/>
            <a:ext cx="7461250" cy="207749"/>
          </a:xfrm>
          <a:prstGeom prst="rect">
            <a:avLst/>
          </a:prstGeom>
        </p:spPr>
        <p:txBody>
          <a:bodyPr wrap="square" lIns="91416" tIns="45708" rIns="91416" bIns="45708" anchor="b" anchorCtr="0">
            <a:noAutofit/>
          </a:bodyPr>
          <a:lstStyle>
            <a:lvl1pPr marL="0" indent="0" algn="l" defTabSz="6035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139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79957"/>
            <a:ext cx="9144000" cy="42275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5" y="39161"/>
            <a:ext cx="8685697" cy="62865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4" y="1008126"/>
            <a:ext cx="8684155" cy="3723894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Round Same Side Corner Rectangle 9"/>
          <p:cNvSpPr/>
          <p:nvPr userDrawn="1"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51376" y="4931497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40522" y="4927118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9" name="Round Same Side Corner Rectangle 18"/>
          <p:cNvSpPr/>
          <p:nvPr userDrawn="1"/>
        </p:nvSpPr>
        <p:spPr>
          <a:xfrm rot="10800000">
            <a:off x="7440118" y="694941"/>
            <a:ext cx="932840" cy="198294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" name="Round Same Side Corner Rectangle 19"/>
          <p:cNvSpPr/>
          <p:nvPr userDrawn="1"/>
        </p:nvSpPr>
        <p:spPr>
          <a:xfrm rot="10800000">
            <a:off x="8114529" y="694940"/>
            <a:ext cx="932839" cy="10740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alpha val="8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Rounded Rectangle 20"/>
          <p:cNvSpPr/>
          <p:nvPr userDrawn="1"/>
        </p:nvSpPr>
        <p:spPr>
          <a:xfrm>
            <a:off x="7512305" y="3115609"/>
            <a:ext cx="860654" cy="1388660"/>
          </a:xfrm>
          <a:prstGeom prst="roundRect">
            <a:avLst>
              <a:gd name="adj" fmla="val 50000"/>
            </a:avLst>
          </a:prstGeom>
          <a:solidFill>
            <a:srgbClr val="0096D6">
              <a:alpha val="8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90824925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21394" y="940720"/>
            <a:ext cx="8301718" cy="2878673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23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70%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7" y="4365149"/>
            <a:ext cx="7461250" cy="207749"/>
          </a:xfrm>
          <a:prstGeom prst="rect">
            <a:avLst/>
          </a:prstGeom>
        </p:spPr>
        <p:txBody>
          <a:bodyPr wrap="square" lIns="91416" tIns="45708" rIns="91416" bIns="45708" anchor="b" anchorCtr="0">
            <a:noAutofit/>
          </a:bodyPr>
          <a:lstStyle>
            <a:lvl1pPr marL="0" indent="0" algn="l" defTabSz="6035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005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705553"/>
            <a:ext cx="8301718" cy="243651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45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749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705553"/>
            <a:ext cx="8301718" cy="243651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45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1890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705553"/>
            <a:ext cx="8301718" cy="243651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45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7743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53765" y="1439066"/>
            <a:ext cx="4117446" cy="2265389"/>
          </a:xfrm>
        </p:spPr>
        <p:txBody>
          <a:bodyPr vert="horz" lIns="61712" tIns="34286" rIns="61712" bIns="34286" rtlCol="0" anchor="ctr" anchorCtr="0">
            <a:noAutofit/>
          </a:bodyPr>
          <a:lstStyle>
            <a:lvl1pPr marL="0" indent="0" algn="l" defTabSz="68572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95344" cy="3840480"/>
          </a:xfrm>
          <a:prstGeom prst="rect">
            <a:avLst/>
          </a:prstGeom>
        </p:spPr>
        <p:txBody>
          <a:bodyPr lIns="91416" tIns="45708" rIns="91416" bIns="45708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2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600575" y="609611"/>
            <a:ext cx="0" cy="398525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7853671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59562" y="302421"/>
            <a:ext cx="8631329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able Title Goes Here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369888" y="1187452"/>
            <a:ext cx="8450262" cy="3043238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0" indent="0" algn="ctr">
              <a:buNone/>
              <a:defRPr sz="20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Table</a:t>
            </a:r>
            <a:endParaRPr lang="en-GB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7" y="4365149"/>
            <a:ext cx="7461250" cy="207749"/>
          </a:xfrm>
          <a:prstGeom prst="rect">
            <a:avLst/>
          </a:prstGeom>
        </p:spPr>
        <p:txBody>
          <a:bodyPr wrap="square" lIns="91416" tIns="45708" rIns="91416" bIns="45708" anchor="b" anchorCtr="0">
            <a:noAutofit/>
          </a:bodyPr>
          <a:lstStyle>
            <a:lvl1pPr algn="l" defTabSz="6035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26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59571" y="302421"/>
            <a:ext cx="8615217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able Title Goes Here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369902" y="1187452"/>
            <a:ext cx="8450261" cy="3043238"/>
          </a:xfrm>
          <a:prstGeom prst="rect">
            <a:avLst/>
          </a:prstGeom>
        </p:spPr>
        <p:txBody>
          <a:bodyPr lIns="91416" tIns="45708" rIns="91416" bIns="45708"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Table</a:t>
            </a:r>
            <a:endParaRPr lang="en-GB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7" y="4365149"/>
            <a:ext cx="7461250" cy="207749"/>
          </a:xfrm>
          <a:prstGeom prst="rect">
            <a:avLst/>
          </a:prstGeom>
        </p:spPr>
        <p:txBody>
          <a:bodyPr wrap="square" lIns="91416" tIns="45708" rIns="91416" bIns="45708" anchor="b" anchorCtr="0">
            <a:noAutofit/>
          </a:bodyPr>
          <a:lstStyle>
            <a:lvl1pPr marL="0" indent="0" algn="l" defTabSz="603550">
              <a:lnSpc>
                <a:spcPct val="100000"/>
              </a:lnSpc>
              <a:spcBef>
                <a:spcPct val="50000"/>
              </a:spcBef>
              <a:buNone/>
              <a:defRPr lang="en-US" sz="16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2341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5729" y="4365149"/>
            <a:ext cx="7461250" cy="207749"/>
          </a:xfrm>
          <a:prstGeom prst="rect">
            <a:avLst/>
          </a:prstGeom>
        </p:spPr>
        <p:txBody>
          <a:bodyPr wrap="square" lIns="91416" tIns="45708" rIns="91416" bIns="45708" anchor="b" anchorCtr="0">
            <a:noAutofit/>
          </a:bodyPr>
          <a:lstStyle>
            <a:lvl1pPr algn="l" defTabSz="6035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59571" y="302421"/>
            <a:ext cx="8632053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hart Title Goes Here</a:t>
            </a:r>
            <a:endParaRPr lang="en-US" dirty="0"/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369888" y="1187452"/>
            <a:ext cx="8450262" cy="3043238"/>
          </a:xfrm>
          <a:prstGeom prst="rect">
            <a:avLst/>
          </a:prstGeom>
        </p:spPr>
        <p:txBody>
          <a:bodyPr vert="horz" lIns="91416" tIns="45708" rIns="91416" bIns="45708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78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369888" y="1187452"/>
            <a:ext cx="8450262" cy="3043238"/>
          </a:xfrm>
          <a:prstGeom prst="rect">
            <a:avLst/>
          </a:prstGeom>
        </p:spPr>
        <p:txBody>
          <a:bodyPr vert="horz" lIns="91416" tIns="45708" rIns="91416" bIns="45708">
            <a:noAutofit/>
          </a:bodyPr>
          <a:lstStyle>
            <a:lvl1pPr marL="0" indent="0" algn="ctr">
              <a:buNone/>
              <a:defRPr sz="20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259557" y="302421"/>
            <a:ext cx="8615940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hart Title Goes Here</a:t>
            </a:r>
            <a:endParaRPr lang="en-US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5729" y="4365149"/>
            <a:ext cx="7461250" cy="207749"/>
          </a:xfrm>
          <a:prstGeom prst="rect">
            <a:avLst/>
          </a:prstGeom>
        </p:spPr>
        <p:txBody>
          <a:bodyPr wrap="square" lIns="91416" tIns="45708" rIns="91416" bIns="45708" anchor="b" anchorCtr="0">
            <a:noAutofit/>
          </a:bodyPr>
          <a:lstStyle>
            <a:lvl1pPr algn="l" defTabSz="60355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831153" y="4932124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62975" y="4929048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050" y="4916617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3807476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259557" y="302421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55355" y="1169322"/>
            <a:ext cx="4265612" cy="3220908"/>
          </a:xfrm>
          <a:prstGeom prst="rect">
            <a:avLst/>
          </a:prstGeom>
        </p:spPr>
        <p:txBody>
          <a:bodyPr lIns="91416" tIns="45708" rIns="91416" bIns="45708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4786116" y="1169322"/>
            <a:ext cx="4016375" cy="3219450"/>
          </a:xfrm>
          <a:prstGeom prst="rect">
            <a:avLst/>
          </a:prstGeom>
        </p:spPr>
        <p:txBody>
          <a:bodyPr vert="horz" lIns="91416" tIns="45708" rIns="91416" bIns="45708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585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xmlns:p14="http://schemas.microsoft.com/office/powerpoint/2010/main"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79957"/>
            <a:ext cx="9144000" cy="42275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5" y="39161"/>
            <a:ext cx="8685697" cy="62865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008126"/>
            <a:ext cx="8684154" cy="3723894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Round Same Side Corner Rectangle 9"/>
          <p:cNvSpPr/>
          <p:nvPr userDrawn="1"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51376" y="4931497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12" name="Rectangle 5"/>
          <p:cNvSpPr>
            <a:spLocks noChangeArrowheads="1"/>
          </p:cNvSpPr>
          <p:nvPr userDrawn="1"/>
        </p:nvSpPr>
        <p:spPr bwMode="ltGray">
          <a:xfrm>
            <a:off x="7789664" y="4930196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40522" y="4927118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2477397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55355" y="1169322"/>
            <a:ext cx="4265612" cy="3220908"/>
          </a:xfrm>
          <a:prstGeom prst="rect">
            <a:avLst/>
          </a:prstGeom>
        </p:spPr>
        <p:txBody>
          <a:bodyPr lIns="91416" tIns="45708" rIns="91416" bIns="45708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4786116" y="1169322"/>
            <a:ext cx="4016375" cy="3219450"/>
          </a:xfrm>
          <a:prstGeom prst="rect">
            <a:avLst/>
          </a:prstGeom>
        </p:spPr>
        <p:txBody>
          <a:bodyPr vert="horz" lIns="91416" tIns="45708" rIns="91416" bIns="45708"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258679" y="302421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427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258465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55355" y="1169322"/>
            <a:ext cx="4265612" cy="3220908"/>
          </a:xfrm>
          <a:prstGeom prst="rect">
            <a:avLst/>
          </a:prstGeom>
        </p:spPr>
        <p:txBody>
          <a:bodyPr lIns="91416" tIns="45708" rIns="91416" bIns="45708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4787324" y="1169322"/>
            <a:ext cx="4015167" cy="3221261"/>
          </a:xfrm>
          <a:prstGeom prst="rect">
            <a:avLst/>
          </a:prstGeom>
        </p:spPr>
        <p:txBody>
          <a:bodyPr vert="horz" lIns="91416" tIns="45708" rIns="91416" bIns="45708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756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xmlns:p14="http://schemas.microsoft.com/office/powerpoint/2010/main"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4787324" y="1169322"/>
            <a:ext cx="4015167" cy="3221261"/>
          </a:xfrm>
          <a:prstGeom prst="rect">
            <a:avLst/>
          </a:prstGeom>
        </p:spPr>
        <p:txBody>
          <a:bodyPr vert="horz" lIns="91416" tIns="45708" rIns="91416" bIns="45708"/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55355" y="1169322"/>
            <a:ext cx="4265612" cy="3220908"/>
          </a:xfrm>
          <a:prstGeom prst="rect">
            <a:avLst/>
          </a:prstGeom>
        </p:spPr>
        <p:txBody>
          <a:bodyPr lIns="91416" tIns="45708" rIns="91416" bIns="45708" anchor="ctr" anchorCtr="0"/>
          <a:lstStyle>
            <a:lvl1pPr marL="0" indent="0">
              <a:buNone/>
              <a:defRPr sz="24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258679" y="302421"/>
            <a:ext cx="8659976" cy="728782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97006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7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4778533" y="1169322"/>
            <a:ext cx="4015167" cy="3221261"/>
          </a:xfrm>
          <a:prstGeom prst="rect">
            <a:avLst/>
          </a:prstGeom>
        </p:spPr>
        <p:txBody>
          <a:bodyPr vert="horz" lIns="91416" tIns="45708" rIns="91416" bIns="45708">
            <a:noAutofit/>
          </a:bodyPr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55355" y="1169322"/>
            <a:ext cx="4265612" cy="3220908"/>
          </a:xfrm>
          <a:prstGeom prst="rect">
            <a:avLst/>
          </a:prstGeom>
        </p:spPr>
        <p:txBody>
          <a:bodyPr lIns="91416" tIns="45708" rIns="91416" bIns="45708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261938" y="304800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4867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3668713" y="233363"/>
            <a:ext cx="3268136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8" tIns="34285" rIns="68568" bIns="34285" rtlCol="0" anchor="ctr"/>
          <a:lstStyle/>
          <a:p>
            <a:pPr algn="ctr" defTabSz="457086"/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669005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68" tIns="34285" rIns="68568" bIns="34285" rtlCol="0" anchor="ctr" anchorCtr="0">
            <a:normAutofit/>
          </a:bodyPr>
          <a:lstStyle>
            <a:lvl1pPr marL="0" indent="0" algn="ctr" defTabSz="6856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334963" y="233363"/>
            <a:ext cx="3287736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8" tIns="34285" rIns="68568" bIns="34285" rtlCol="0" anchor="ctr"/>
          <a:lstStyle/>
          <a:p>
            <a:pPr algn="ctr" defTabSz="457086"/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20831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68" tIns="34285" rIns="68568" bIns="34285" rtlCol="0" anchor="ctr" anchorCtr="0">
            <a:normAutofit/>
          </a:bodyPr>
          <a:lstStyle>
            <a:lvl1pPr marL="0" indent="0" algn="ctr" defTabSz="6856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8" tIns="34285" rIns="68568" bIns="34285" rtlCol="0" anchor="ctr"/>
          <a:lstStyle/>
          <a:p>
            <a:pPr algn="ctr" defTabSz="457086"/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68" tIns="34285" rIns="68568" bIns="34285" rtlCol="0" anchor="ctr" anchorCtr="0">
            <a:normAutofit/>
          </a:bodyPr>
          <a:lstStyle>
            <a:lvl1pPr marL="0" indent="0" algn="ctr" defTabSz="6856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2" name="Rectangle 51"/>
          <p:cNvSpPr/>
          <p:nvPr/>
        </p:nvSpPr>
        <p:spPr>
          <a:xfrm>
            <a:off x="334979" y="2271724"/>
            <a:ext cx="2523161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8" tIns="34285" rIns="68568" bIns="34285" rtlCol="0" anchor="ctr"/>
          <a:lstStyle/>
          <a:p>
            <a:pPr algn="ctr" defTabSz="457086"/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320824" y="2271724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68" tIns="34285" rIns="68568" bIns="34285" rtlCol="0" anchor="ctr" anchorCtr="0">
            <a:normAutofit/>
          </a:bodyPr>
          <a:lstStyle>
            <a:lvl1pPr marL="0" indent="0" algn="ctr" defTabSz="6856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4" name="Rectangle 53"/>
          <p:cNvSpPr/>
          <p:nvPr/>
        </p:nvSpPr>
        <p:spPr>
          <a:xfrm>
            <a:off x="2911476" y="2271724"/>
            <a:ext cx="4025374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8" tIns="34285" rIns="68568" bIns="34285" rtlCol="0" anchor="ctr"/>
          <a:lstStyle/>
          <a:p>
            <a:pPr algn="ctr" defTabSz="457086"/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2908334" y="2271724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68" tIns="34285" rIns="68568" bIns="34285" rtlCol="0" anchor="ctr" anchorCtr="0">
            <a:normAutofit/>
          </a:bodyPr>
          <a:lstStyle>
            <a:lvl1pPr marL="0" indent="0" algn="ctr" defTabSz="6856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6979833" y="1262755"/>
            <a:ext cx="1838730" cy="258161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8" tIns="34285" rIns="68568" bIns="34285" rtlCol="0" anchor="ctr"/>
          <a:lstStyle/>
          <a:p>
            <a:pPr algn="ctr" defTabSz="457086"/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68" tIns="34285" rIns="68568" bIns="34285" rtlCol="0" anchor="ctr" anchorCtr="0">
            <a:normAutofit/>
          </a:bodyPr>
          <a:lstStyle>
            <a:lvl1pPr marL="0" indent="0" algn="ctr" defTabSz="6856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8" tIns="34285" rIns="68568" bIns="34285" rtlCol="0" anchor="ctr"/>
          <a:lstStyle/>
          <a:p>
            <a:pPr algn="ctr" defTabSz="457086"/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68" tIns="34285" rIns="68568" bIns="34285" rtlCol="0" anchor="ctr" anchorCtr="0">
            <a:normAutofit/>
          </a:bodyPr>
          <a:lstStyle>
            <a:lvl1pPr marL="0" indent="0" algn="ctr" defTabSz="6856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20" name="Rectangle 5"/>
          <p:cNvSpPr>
            <a:spLocks noChangeArrowheads="1"/>
          </p:cNvSpPr>
          <p:nvPr userDrawn="1"/>
        </p:nvSpPr>
        <p:spPr bwMode="ltGray">
          <a:xfrm>
            <a:off x="7831153" y="4932124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8662975" y="4929048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292050" y="4916617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3326254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1891875" y="596646"/>
            <a:ext cx="5349240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457086"/>
            <a:endParaRPr lang="en-US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891875" y="3595766"/>
            <a:ext cx="5347552" cy="74727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457086"/>
            <a:endParaRPr lang="en-US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91416" tIns="45708" rIns="91416" bIns="45708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662969" y="4912241"/>
            <a:ext cx="218407" cy="1545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9"/>
            <a:fld id="{DFCF27A5-1A5B-48D3-A060-2758FFBB1ADD}" type="slidenum">
              <a:rPr lang="en-US" sz="600">
                <a:solidFill>
                  <a:srgbClr val="272848"/>
                </a:solidFill>
                <a:latin typeface="CiscoSansTT Light"/>
              </a:rPr>
              <a:pPr algn="r" defTabSz="610719"/>
              <a:t>‹#›</a:t>
            </a:fld>
            <a:endParaRPr lang="en-US" sz="6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ltGray">
          <a:xfrm>
            <a:off x="7831153" y="4932124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8662975" y="4929048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92050" y="4916617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53670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338329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457086"/>
            <a:endParaRPr lang="en-US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38329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1" tIns="34286" rIns="68571" bIns="34286" rtlCol="0" anchor="ctr" anchorCtr="0">
            <a:normAutofit/>
          </a:bodyPr>
          <a:lstStyle>
            <a:lvl1pPr marL="0" indent="0" algn="ctr" defTabSz="6857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8092" y="2571750"/>
            <a:ext cx="7009298" cy="1066446"/>
          </a:xfrm>
        </p:spPr>
        <p:txBody>
          <a:bodyPr anchor="t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Large photo </a:t>
            </a:r>
            <a:br>
              <a:rPr lang="en-US" dirty="0" smtClean="0"/>
            </a:br>
            <a:r>
              <a:rPr lang="en-US" dirty="0" smtClean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92050" y="4916620"/>
            <a:ext cx="3420515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3" tIns="30791" rIns="61583" bIns="30791" anchor="b" anchorCtr="0">
            <a:spAutoFit/>
          </a:bodyPr>
          <a:lstStyle/>
          <a:p>
            <a:pPr defTabSz="610719"/>
            <a:r>
              <a:rPr lang="en-US" sz="600" dirty="0" smtClean="0">
                <a:solidFill>
                  <a:srgbClr val="272848"/>
                </a:solidFill>
                <a:latin typeface="CiscoSansTT ExtraLight"/>
              </a:rPr>
              <a:t>© 2013  Cisco and/or its affiliates. All rights reserved.</a:t>
            </a:r>
            <a:endParaRPr lang="en-US" sz="600" dirty="0">
              <a:solidFill>
                <a:srgbClr val="272848"/>
              </a:solidFill>
              <a:latin typeface="CiscoSansTT ExtraLight"/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662969" y="4912241"/>
            <a:ext cx="218407" cy="1545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9"/>
            <a:fld id="{DFCF27A5-1A5B-48D3-A060-2758FFBB1ADD}" type="slidenum">
              <a:rPr lang="en-US" sz="600">
                <a:solidFill>
                  <a:srgbClr val="272848"/>
                </a:solidFill>
                <a:latin typeface="CiscoSansTT Light"/>
              </a:rPr>
              <a:pPr algn="r" defTabSz="610719"/>
              <a:t>‹#›</a:t>
            </a:fld>
            <a:endParaRPr lang="en-US" sz="6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831153" y="4932124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62975" y="4929048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92050" y="4916617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4054016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4992624" y="644652"/>
            <a:ext cx="3630168" cy="3771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457086"/>
            <a:endParaRPr lang="en-US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644652"/>
            <a:ext cx="3630168" cy="3771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91416" tIns="45708" rIns="91416" bIns="45708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54870" y="546740"/>
            <a:ext cx="4349918" cy="813985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65680" y="4916620"/>
            <a:ext cx="3420515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3" tIns="30791" rIns="61583" bIns="30791" anchor="b" anchorCtr="0">
            <a:spAutoFit/>
          </a:bodyPr>
          <a:lstStyle/>
          <a:p>
            <a:pPr defTabSz="610719"/>
            <a:r>
              <a:rPr lang="en-US" sz="600" dirty="0" smtClean="0">
                <a:solidFill>
                  <a:srgbClr val="272848"/>
                </a:solidFill>
                <a:latin typeface="CiscoSansTT Light"/>
              </a:rPr>
              <a:t>© 2013  Cisco and/or its affiliates. All rights reserved.</a:t>
            </a:r>
            <a:endParaRPr lang="en-US" sz="6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662969" y="4912241"/>
            <a:ext cx="218407" cy="1545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9"/>
            <a:fld id="{DFCF27A5-1A5B-48D3-A060-2758FFBB1ADD}" type="slidenum">
              <a:rPr lang="en-US" sz="600">
                <a:solidFill>
                  <a:srgbClr val="272848"/>
                </a:solidFill>
                <a:latin typeface="CiscoSansTT Light"/>
              </a:rPr>
              <a:pPr algn="r" defTabSz="610719"/>
              <a:t>‹#›</a:t>
            </a:fld>
            <a:endParaRPr lang="en-US" sz="600" dirty="0">
              <a:solidFill>
                <a:srgbClr val="272848"/>
              </a:solidFill>
              <a:latin typeface="CiscoSansTT Light"/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ltGray">
          <a:xfrm>
            <a:off x="7831153" y="4932124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8662975" y="4929048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92050" y="4916617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5780013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348" y="0"/>
            <a:ext cx="9144000" cy="5143500"/>
          </a:xfrm>
          <a:prstGeom prst="rect">
            <a:avLst/>
          </a:prstGeom>
        </p:spPr>
        <p:txBody>
          <a:bodyPr vert="horz" lIns="91416" tIns="45708" rIns="91416" bIns="45708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864087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22" y="240631"/>
            <a:ext cx="8447031" cy="4408370"/>
          </a:xfrm>
          <a:prstGeom prst="rect">
            <a:avLst/>
          </a:prstGeom>
        </p:spPr>
        <p:txBody>
          <a:bodyPr vert="horz" lIns="91416" tIns="45708" rIns="91416" bIns="45708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434248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679957"/>
            <a:ext cx="9144000" cy="42275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Round Same Side Corner Rectangle 6"/>
          <p:cNvSpPr/>
          <p:nvPr userDrawn="1"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5" y="39161"/>
            <a:ext cx="8685697" cy="62865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16" y="1004810"/>
            <a:ext cx="4217085" cy="3724275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rgbClr val="435153"/>
                </a:solidFill>
                <a:latin typeface="+mj-lt"/>
              </a:defRPr>
            </a:lvl2pPr>
            <a:lvl3pPr>
              <a:defRPr sz="1200">
                <a:solidFill>
                  <a:srgbClr val="435153"/>
                </a:solidFill>
                <a:latin typeface="+mj-lt"/>
              </a:defRPr>
            </a:lvl3pPr>
            <a:lvl4pPr>
              <a:defRPr sz="1100">
                <a:solidFill>
                  <a:srgbClr val="435153"/>
                </a:solidFill>
                <a:latin typeface="+mj-lt"/>
              </a:defRPr>
            </a:lvl4pPr>
            <a:lvl5pPr>
              <a:defRPr sz="1100"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4" y="1004810"/>
            <a:ext cx="4217085" cy="3724275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rgbClr val="435153"/>
                </a:solidFill>
                <a:latin typeface="+mj-lt"/>
              </a:defRPr>
            </a:lvl2pPr>
            <a:lvl3pPr>
              <a:defRPr sz="1200">
                <a:solidFill>
                  <a:srgbClr val="435153"/>
                </a:solidFill>
                <a:latin typeface="+mj-lt"/>
              </a:defRPr>
            </a:lvl3pPr>
            <a:lvl4pPr>
              <a:defRPr sz="1100">
                <a:solidFill>
                  <a:srgbClr val="435153"/>
                </a:solidFill>
                <a:latin typeface="+mj-lt"/>
              </a:defRPr>
            </a:lvl4pPr>
            <a:lvl5pPr>
              <a:defRPr sz="1100"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251376" y="4931497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8640522" y="4927118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281969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10"/>
            <a:ext cx="9144001" cy="4983479"/>
          </a:xfrm>
          <a:prstGeom prst="rect">
            <a:avLst/>
          </a:prstGeom>
        </p:spPr>
        <p:txBody>
          <a:bodyPr vert="horz" lIns="91416" tIns="45708" rIns="91416" bIns="45708"/>
          <a:lstStyle>
            <a:lvl1pPr marL="0" indent="0" algn="ctr">
              <a:buNone/>
              <a:defRPr sz="15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2263830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2916766" y="582930"/>
            <a:ext cx="5899416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68" tIns="34285" rIns="68568" bIns="34285" rtlCol="0" anchor="ctr">
            <a:normAutofit/>
          </a:bodyPr>
          <a:lstStyle>
            <a:lvl1pPr marL="0" indent="0" algn="ctr" defTabSz="6856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 smtClean="0"/>
              <a:t>Click icon to add media</a:t>
            </a:r>
            <a:endParaRPr lang="en-US" dirty="0"/>
          </a:p>
        </p:txBody>
      </p:sp>
      <p:sp>
        <p:nvSpPr>
          <p:cNvPr id="37" name="Rectangle 5"/>
          <p:cNvSpPr>
            <a:spLocks noChangeArrowheads="1"/>
          </p:cNvSpPr>
          <p:nvPr userDrawn="1"/>
        </p:nvSpPr>
        <p:spPr bwMode="ltGray">
          <a:xfrm>
            <a:off x="7831153" y="4932124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8662975" y="4929048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292050" y="4916617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6448726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4391620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68" tIns="34285" rIns="68568" bIns="34285" rtlCol="0" anchor="ctr">
            <a:normAutofit/>
          </a:bodyPr>
          <a:lstStyle>
            <a:lvl1pPr marL="0" indent="0" algn="ctr" defTabSz="68569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 smtClean="0"/>
              <a:t>Click icon to add media</a:t>
            </a:r>
            <a:endParaRPr lang="en-US" dirty="0"/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7831153" y="4932124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8662975" y="4929048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92050" y="4916617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480719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7536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6419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Blank_gradient only">
    <p:bg>
      <p:bgPr>
        <a:gradFill>
          <a:gsLst>
            <a:gs pos="0">
              <a:schemeClr val="accent1"/>
            </a:gs>
            <a:gs pos="100000">
              <a:schemeClr val="accent6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FFFFFF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FFFFFF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54785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_gradient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3980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3947936" y="4088814"/>
            <a:ext cx="1240920" cy="659747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78708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626132" y="2300022"/>
            <a:ext cx="2468596" cy="646307"/>
          </a:xfrm>
          <a:prstGeom prst="rect">
            <a:avLst/>
          </a:prstGeom>
          <a:noFill/>
        </p:spPr>
        <p:txBody>
          <a:bodyPr wrap="none" lIns="91416" tIns="45708" rIns="91416" bIns="45708" rtlCol="0">
            <a:spAutoFit/>
          </a:bodyPr>
          <a:lstStyle/>
          <a:p>
            <a:pPr defTabSz="457086"/>
            <a:r>
              <a:rPr lang="en-US" sz="3600" dirty="0" smtClean="0">
                <a:solidFill>
                  <a:srgbClr val="FFFFFF"/>
                </a:solidFill>
                <a:latin typeface="CiscoSansTT ExtraLight"/>
              </a:rPr>
              <a:t>Thank you.</a:t>
            </a:r>
            <a:endParaRPr lang="en-US" sz="3600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6286242" y="2851183"/>
            <a:ext cx="116616" cy="44182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6965595" y="2840185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5798084" y="2840185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7425276" y="2840185"/>
            <a:ext cx="463750" cy="466297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6553379" y="2840185"/>
            <a:ext cx="302387" cy="466297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5566220" y="2225010"/>
            <a:ext cx="109835" cy="22703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5874031" y="2072760"/>
            <a:ext cx="109835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6176421" y="1863402"/>
            <a:ext cx="109835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6484230" y="2072752"/>
            <a:ext cx="109835" cy="3792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6785247" y="2225012"/>
            <a:ext cx="116616" cy="22703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7093068" y="207275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7400877" y="1863393"/>
            <a:ext cx="111191" cy="698766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7703265" y="207275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8011072" y="2225012"/>
            <a:ext cx="111191" cy="22703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15293768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3947936" y="4088814"/>
            <a:ext cx="1240920" cy="659747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09491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679957"/>
            <a:ext cx="9144000" cy="42275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Round Same Side Corner Rectangle 16"/>
          <p:cNvSpPr/>
          <p:nvPr userDrawn="1"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4" y="1004810"/>
            <a:ext cx="4256086" cy="3724275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229705" y="39161"/>
            <a:ext cx="8685697" cy="6286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2934041" y="2829655"/>
            <a:ext cx="3771900" cy="72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6000">
                <a:srgbClr val="008851"/>
              </a:gs>
              <a:gs pos="21000">
                <a:srgbClr val="01BBBB"/>
              </a:gs>
              <a:gs pos="100000">
                <a:schemeClr val="accent4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IN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251376" y="4931497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8640522" y="4927118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221223" y="1310763"/>
            <a:ext cx="3499444" cy="678904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chemeClr val="tx1"/>
                    </a:gs>
                    <a:gs pos="47000">
                      <a:schemeClr val="accent2"/>
                    </a:gs>
                    <a:gs pos="100000">
                      <a:schemeClr val="accent4"/>
                    </a:gs>
                  </a:gsLst>
                  <a:lin ang="3600000" scaled="0"/>
                </a:gradFill>
                <a:latin typeface="+mj-lt"/>
                <a:ea typeface="+mn-ea"/>
                <a:cs typeface="+mn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“This is the sample </a:t>
            </a:r>
            <a:br>
              <a:rPr lang="en-US" dirty="0" smtClean="0"/>
            </a:br>
            <a:r>
              <a:rPr lang="en-US" dirty="0" smtClean="0"/>
              <a:t>pull quote.”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334000" y="3657600"/>
            <a:ext cx="3276600" cy="342900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Source Name</a:t>
            </a:r>
            <a:endParaRPr lang="en-US" dirty="0"/>
          </a:p>
        </p:txBody>
      </p:sp>
      <p:sp>
        <p:nvSpPr>
          <p:cNvPr id="25" name="Round Same Side Corner Rectangle 24"/>
          <p:cNvSpPr/>
          <p:nvPr userDrawn="1"/>
        </p:nvSpPr>
        <p:spPr>
          <a:xfrm rot="10800000">
            <a:off x="7440118" y="694941"/>
            <a:ext cx="932840" cy="198294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Round Same Side Corner Rectangle 25"/>
          <p:cNvSpPr/>
          <p:nvPr userDrawn="1"/>
        </p:nvSpPr>
        <p:spPr>
          <a:xfrm rot="10800000">
            <a:off x="8114529" y="694940"/>
            <a:ext cx="932839" cy="10740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alpha val="8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Rounded Rectangle 26"/>
          <p:cNvSpPr/>
          <p:nvPr userDrawn="1"/>
        </p:nvSpPr>
        <p:spPr>
          <a:xfrm>
            <a:off x="7512305" y="3115609"/>
            <a:ext cx="860654" cy="1388660"/>
          </a:xfrm>
          <a:prstGeom prst="roundRect">
            <a:avLst>
              <a:gd name="adj" fmla="val 50000"/>
            </a:avLst>
          </a:prstGeom>
          <a:solidFill>
            <a:srgbClr val="0096D6">
              <a:alpha val="8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635890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21406" y="940720"/>
            <a:ext cx="8694007" cy="287867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2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hanks</a:t>
            </a:r>
            <a:endParaRPr lang="en-US" dirty="0"/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3947936" y="4088814"/>
            <a:ext cx="1240920" cy="659747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685691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mtClean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17842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626132" y="2300022"/>
            <a:ext cx="2468596" cy="646307"/>
          </a:xfrm>
          <a:prstGeom prst="rect">
            <a:avLst/>
          </a:prstGeom>
          <a:noFill/>
        </p:spPr>
        <p:txBody>
          <a:bodyPr wrap="none" lIns="91416" tIns="45708" rIns="91416" bIns="45708" rtlCol="0">
            <a:spAutoFit/>
          </a:bodyPr>
          <a:lstStyle/>
          <a:p>
            <a:pPr defTabSz="457086"/>
            <a:r>
              <a:rPr lang="en-US" sz="3600" dirty="0" smtClean="0">
                <a:solidFill>
                  <a:srgbClr val="FFFFFF"/>
                </a:solidFill>
                <a:latin typeface="CiscoSansTT ExtraLight"/>
              </a:rPr>
              <a:t>Thank you.</a:t>
            </a:r>
            <a:endParaRPr lang="en-US" sz="3600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6286242" y="2851183"/>
            <a:ext cx="116616" cy="44182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6965595" y="2840185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5798084" y="2840185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7425276" y="2840185"/>
            <a:ext cx="463750" cy="466297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6553379" y="2840185"/>
            <a:ext cx="302387" cy="466297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5566220" y="2225010"/>
            <a:ext cx="109835" cy="22703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5874031" y="2072760"/>
            <a:ext cx="109835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6176421" y="1863402"/>
            <a:ext cx="109835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6484230" y="2072752"/>
            <a:ext cx="109835" cy="3792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6785247" y="2225012"/>
            <a:ext cx="116616" cy="22703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7093068" y="207275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7400877" y="1863393"/>
            <a:ext cx="111191" cy="698766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7703265" y="207275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8011072" y="2225012"/>
            <a:ext cx="111191" cy="22703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91416" tIns="45708" rIns="91416" bIns="45708"/>
          <a:lstStyle/>
          <a:p>
            <a:pPr defTabSz="457086"/>
            <a:endParaRPr lang="en-US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10313196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2087521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Placeholder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9" name="Round Same Side Corner Rectangle 58"/>
          <p:cNvSpPr/>
          <p:nvPr userDrawn="1"/>
        </p:nvSpPr>
        <p:spPr>
          <a:xfrm rot="10800000">
            <a:off x="5909746" y="-5"/>
            <a:ext cx="3234261" cy="4213935"/>
          </a:xfrm>
          <a:prstGeom prst="round2SameRect">
            <a:avLst>
              <a:gd name="adj1" fmla="val 49818"/>
              <a:gd name="adj2" fmla="val 0"/>
            </a:avLst>
          </a:prstGeom>
          <a:gradFill flip="none" rotWithShape="1">
            <a:gsLst>
              <a:gs pos="0">
                <a:srgbClr val="00B2F0">
                  <a:alpha val="52000"/>
                </a:srgbClr>
              </a:gs>
              <a:gs pos="100000">
                <a:srgbClr val="96CA4B">
                  <a:alpha val="52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12700">
            <a:gradFill>
              <a:gsLst>
                <a:gs pos="0">
                  <a:schemeClr val="tx1"/>
                </a:gs>
                <a:gs pos="50000">
                  <a:srgbClr val="3EB549"/>
                </a:gs>
                <a:gs pos="100000">
                  <a:schemeClr val="accent4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marL="457086" lvl="1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Round Same Side Corner Rectangle 28"/>
          <p:cNvSpPr/>
          <p:nvPr userDrawn="1"/>
        </p:nvSpPr>
        <p:spPr>
          <a:xfrm rot="10800000">
            <a:off x="5715000" y="-1"/>
            <a:ext cx="2878666" cy="2900982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249" tIns="45708" rIns="91416" bIns="45708" rtlCol="0" anchor="ctr"/>
          <a:lstStyle/>
          <a:p>
            <a:pPr marL="457086" lvl="1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77728" y="1222044"/>
            <a:ext cx="1715337" cy="3849499"/>
            <a:chOff x="547855" y="1510844"/>
            <a:chExt cx="2250002" cy="5309775"/>
          </a:xfrm>
        </p:grpSpPr>
        <p:sp>
          <p:nvSpPr>
            <p:cNvPr id="66" name="Rounded Rectangle 65"/>
            <p:cNvSpPr/>
            <p:nvPr/>
          </p:nvSpPr>
          <p:spPr>
            <a:xfrm flipH="1">
              <a:off x="547855" y="1510844"/>
              <a:ext cx="726002" cy="3399841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00B2F0">
                    <a:alpha val="48000"/>
                  </a:srgbClr>
                </a:gs>
                <a:gs pos="100000">
                  <a:srgbClr val="96CA4B">
                    <a:alpha val="26000"/>
                  </a:srgb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457086" lvl="1" defTabSz="914172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7" name="Rounded Rectangle 66"/>
            <p:cNvSpPr/>
            <p:nvPr/>
          </p:nvSpPr>
          <p:spPr>
            <a:xfrm flipH="1">
              <a:off x="928855" y="3628485"/>
              <a:ext cx="726002" cy="1893196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60000"/>
                <a:lumOff val="40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72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8" name="Rounded Rectangle 67"/>
            <p:cNvSpPr/>
            <p:nvPr/>
          </p:nvSpPr>
          <p:spPr>
            <a:xfrm flipH="1">
              <a:off x="2071855" y="5460823"/>
              <a:ext cx="726002" cy="1359796"/>
            </a:xfrm>
            <a:prstGeom prst="roundRect">
              <a:avLst>
                <a:gd name="adj" fmla="val 50000"/>
              </a:avLst>
            </a:prstGeom>
            <a:solidFill>
              <a:srgbClr val="B7D333">
                <a:alpha val="2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72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892805" y="-463569"/>
            <a:ext cx="2497666" cy="2309302"/>
          </a:xfrm>
        </p:spPr>
        <p:txBody>
          <a:bodyPr/>
          <a:lstStyle>
            <a:lvl1pPr>
              <a:lnSpc>
                <a:spcPct val="90000"/>
              </a:lnSpc>
              <a:defRPr lang="en-US" sz="3600" b="0" kern="1200" spc="-20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 (Static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96026" y="3051421"/>
            <a:ext cx="2436648" cy="263731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 hasCustomPrompt="1"/>
          </p:nvPr>
        </p:nvSpPr>
        <p:spPr>
          <a:xfrm>
            <a:off x="6380417" y="3396885"/>
            <a:ext cx="2452258" cy="261167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pSp>
        <p:nvGrpSpPr>
          <p:cNvPr id="31" name="Group 67"/>
          <p:cNvGrpSpPr/>
          <p:nvPr userDrawn="1"/>
        </p:nvGrpSpPr>
        <p:grpSpPr>
          <a:xfrm>
            <a:off x="8070159" y="4470787"/>
            <a:ext cx="726727" cy="384199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165927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Placeholder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30" name="Group 29"/>
          <p:cNvGrpSpPr/>
          <p:nvPr userDrawn="1"/>
        </p:nvGrpSpPr>
        <p:grpSpPr>
          <a:xfrm>
            <a:off x="377728" y="1222044"/>
            <a:ext cx="1715337" cy="3849499"/>
            <a:chOff x="547855" y="1510844"/>
            <a:chExt cx="2250002" cy="5309775"/>
          </a:xfrm>
        </p:grpSpPr>
        <p:sp>
          <p:nvSpPr>
            <p:cNvPr id="31" name="Rounded Rectangle 30"/>
            <p:cNvSpPr/>
            <p:nvPr/>
          </p:nvSpPr>
          <p:spPr>
            <a:xfrm flipH="1">
              <a:off x="547855" y="1510844"/>
              <a:ext cx="726002" cy="3399841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00B2F0">
                    <a:alpha val="48000"/>
                  </a:srgbClr>
                </a:gs>
                <a:gs pos="100000">
                  <a:srgbClr val="96CA4B">
                    <a:alpha val="26000"/>
                  </a:srgb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457086" lvl="1" defTabSz="914172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2" name="Rounded Rectangle 31"/>
            <p:cNvSpPr/>
            <p:nvPr/>
          </p:nvSpPr>
          <p:spPr>
            <a:xfrm flipH="1">
              <a:off x="928855" y="3628485"/>
              <a:ext cx="726002" cy="1893196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60000"/>
                <a:lumOff val="40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72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3" name="Rounded Rectangle 32"/>
            <p:cNvSpPr/>
            <p:nvPr/>
          </p:nvSpPr>
          <p:spPr>
            <a:xfrm flipH="1">
              <a:off x="2071855" y="5460823"/>
              <a:ext cx="726002" cy="1359796"/>
            </a:xfrm>
            <a:prstGeom prst="roundRect">
              <a:avLst>
                <a:gd name="adj" fmla="val 50000"/>
              </a:avLst>
            </a:prstGeom>
            <a:solidFill>
              <a:srgbClr val="B7D333">
                <a:alpha val="2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72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34" name="Group 67"/>
          <p:cNvGrpSpPr/>
          <p:nvPr userDrawn="1"/>
        </p:nvGrpSpPr>
        <p:grpSpPr>
          <a:xfrm>
            <a:off x="8070159" y="4470787"/>
            <a:ext cx="726727" cy="384199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35" name="Rectangle 3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172"/>
              <a:endParaRPr lang="en-US">
                <a:solidFill>
                  <a:srgbClr val="0096D6"/>
                </a:solidFill>
                <a:latin typeface="Arial"/>
              </a:endParaRPr>
            </a:p>
          </p:txBody>
        </p:sp>
      </p:grpSp>
      <p:sp>
        <p:nvSpPr>
          <p:cNvPr id="50" name="Round Same Side Corner Rectangle 49"/>
          <p:cNvSpPr/>
          <p:nvPr userDrawn="1"/>
        </p:nvSpPr>
        <p:spPr>
          <a:xfrm rot="10800000">
            <a:off x="5909746" y="-5"/>
            <a:ext cx="3234261" cy="4213935"/>
          </a:xfrm>
          <a:prstGeom prst="round2SameRect">
            <a:avLst>
              <a:gd name="adj1" fmla="val 49818"/>
              <a:gd name="adj2" fmla="val 0"/>
            </a:avLst>
          </a:prstGeom>
          <a:gradFill flip="none" rotWithShape="1">
            <a:gsLst>
              <a:gs pos="0">
                <a:srgbClr val="00B2F0">
                  <a:alpha val="52000"/>
                </a:srgbClr>
              </a:gs>
              <a:gs pos="100000">
                <a:srgbClr val="96CA4B">
                  <a:alpha val="52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12700">
            <a:gradFill>
              <a:gsLst>
                <a:gs pos="0">
                  <a:schemeClr val="tx1"/>
                </a:gs>
                <a:gs pos="50000">
                  <a:srgbClr val="3EB549"/>
                </a:gs>
                <a:gs pos="100000">
                  <a:schemeClr val="accent4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marL="457086" lvl="1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1" name="Round Same Side Corner Rectangle 50"/>
          <p:cNvSpPr/>
          <p:nvPr userDrawn="1"/>
        </p:nvSpPr>
        <p:spPr>
          <a:xfrm rot="10800000">
            <a:off x="5715000" y="-1"/>
            <a:ext cx="2878666" cy="2900982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249" tIns="45708" rIns="91416" bIns="45708" rtlCol="0" anchor="ctr"/>
          <a:lstStyle/>
          <a:p>
            <a:pPr marL="457086" lvl="1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96026" y="3051421"/>
            <a:ext cx="2436648" cy="263731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54" name="Text Placeholder 43"/>
          <p:cNvSpPr>
            <a:spLocks noGrp="1"/>
          </p:cNvSpPr>
          <p:nvPr>
            <p:ph type="body" sz="quarter" idx="11" hasCustomPrompt="1"/>
          </p:nvPr>
        </p:nvSpPr>
        <p:spPr>
          <a:xfrm>
            <a:off x="6380417" y="3396885"/>
            <a:ext cx="2452258" cy="261167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5892805" y="-463569"/>
            <a:ext cx="2497666" cy="2309302"/>
          </a:xfrm>
        </p:spPr>
        <p:txBody>
          <a:bodyPr/>
          <a:lstStyle>
            <a:lvl1pPr>
              <a:lnSpc>
                <a:spcPct val="90000"/>
              </a:lnSpc>
              <a:defRPr lang="en-US" sz="3600" b="0" kern="1200" spc="-20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 (Static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016840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 animBg="1"/>
      <p:bldP spid="53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/>
    </p:bld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Same Side Corner Rectangle 2"/>
          <p:cNvSpPr/>
          <p:nvPr userDrawn="1"/>
        </p:nvSpPr>
        <p:spPr>
          <a:xfrm rot="10800000" flipV="1">
            <a:off x="1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Round Same Side Corner Rectangle 14"/>
          <p:cNvSpPr/>
          <p:nvPr userDrawn="1"/>
        </p:nvSpPr>
        <p:spPr>
          <a:xfrm rot="10800000">
            <a:off x="7340572" y="27857"/>
            <a:ext cx="1032389" cy="219456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Round Same Side Corner Rectangle 15"/>
          <p:cNvSpPr/>
          <p:nvPr userDrawn="1"/>
        </p:nvSpPr>
        <p:spPr>
          <a:xfrm rot="10800000">
            <a:off x="8014986" y="27857"/>
            <a:ext cx="1032389" cy="118872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50000"/>
              <a:alpha val="17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48365" y="1314499"/>
            <a:ext cx="4913195" cy="492919"/>
          </a:xfrm>
          <a:prstGeom prst="roundRect">
            <a:avLst/>
          </a:prstGeom>
          <a:gradFill flip="none" rotWithShape="1">
            <a:gsLst>
              <a:gs pos="42000">
                <a:schemeClr val="bg2">
                  <a:alpha val="70000"/>
                </a:schemeClr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249" rtlCol="0" anchor="ctr"/>
          <a:lstStyle>
            <a:lvl1pPr marL="0" indent="0">
              <a:buFontTx/>
              <a:buNone/>
              <a:defRPr lang="en-US" dirty="0">
                <a:solidFill>
                  <a:srgbClr val="4D4D4D"/>
                </a:solidFill>
                <a:latin typeface="+mn-lt"/>
              </a:defRPr>
            </a:lvl1pPr>
          </a:lstStyle>
          <a:p>
            <a:pPr marL="399951" lvl="0" indent="-399951"/>
            <a:r>
              <a:rPr lang="en-US" dirty="0" smtClean="0"/>
              <a:t>Title 01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48365" y="2033611"/>
            <a:ext cx="4913195" cy="492919"/>
          </a:xfrm>
          <a:prstGeom prst="roundRect">
            <a:avLst/>
          </a:prstGeom>
          <a:gradFill flip="none" rotWithShape="1">
            <a:gsLst>
              <a:gs pos="42000">
                <a:schemeClr val="bg2">
                  <a:alpha val="70000"/>
                </a:schemeClr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249" rtlCol="0" anchor="ctr"/>
          <a:lstStyle>
            <a:lvl1pPr marL="0" indent="0">
              <a:buFontTx/>
              <a:buNone/>
              <a:defRPr lang="en-US" dirty="0">
                <a:solidFill>
                  <a:srgbClr val="4D4D4D"/>
                </a:solidFill>
                <a:latin typeface="+mn-lt"/>
              </a:defRPr>
            </a:lvl1pPr>
          </a:lstStyle>
          <a:p>
            <a:pPr marL="399951" lvl="0" indent="-399951"/>
            <a:r>
              <a:rPr lang="en-US" dirty="0" smtClean="0"/>
              <a:t>Title 02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62013" y="2752718"/>
            <a:ext cx="4913195" cy="492919"/>
          </a:xfrm>
          <a:prstGeom prst="roundRect">
            <a:avLst/>
          </a:prstGeom>
          <a:gradFill flip="none" rotWithShape="1">
            <a:gsLst>
              <a:gs pos="42000">
                <a:schemeClr val="bg2">
                  <a:alpha val="70000"/>
                </a:schemeClr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249" rtlCol="0" anchor="ctr"/>
          <a:lstStyle>
            <a:lvl1pPr marL="0" indent="0">
              <a:buFontTx/>
              <a:buNone/>
              <a:defRPr lang="en-US" dirty="0">
                <a:solidFill>
                  <a:srgbClr val="4D4D4D"/>
                </a:solidFill>
                <a:latin typeface="+mn-lt"/>
              </a:defRPr>
            </a:lvl1pPr>
          </a:lstStyle>
          <a:p>
            <a:pPr marL="399951" lvl="0" indent="-399951"/>
            <a:r>
              <a:rPr lang="en-US" dirty="0" smtClean="0"/>
              <a:t>Title 03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62013" y="3471835"/>
            <a:ext cx="4913195" cy="492919"/>
          </a:xfrm>
          <a:prstGeom prst="roundRect">
            <a:avLst/>
          </a:prstGeom>
          <a:gradFill flip="none" rotWithShape="1">
            <a:gsLst>
              <a:gs pos="42000">
                <a:schemeClr val="bg2">
                  <a:alpha val="70000"/>
                </a:schemeClr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249" rtlCol="0" anchor="ctr"/>
          <a:lstStyle>
            <a:lvl1pPr marL="0" indent="0">
              <a:buFontTx/>
              <a:buNone/>
              <a:defRPr lang="en-US" dirty="0">
                <a:solidFill>
                  <a:srgbClr val="4D4D4D"/>
                </a:solidFill>
                <a:latin typeface="+mn-lt"/>
              </a:defRPr>
            </a:lvl1pPr>
          </a:lstStyle>
          <a:p>
            <a:pPr marL="399951" lvl="0" indent="-399951"/>
            <a:r>
              <a:rPr lang="en-US" dirty="0" smtClean="0"/>
              <a:t>Title 04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70015" y="39161"/>
            <a:ext cx="4999512" cy="628650"/>
          </a:xfrm>
        </p:spPr>
        <p:txBody>
          <a:bodyPr/>
          <a:lstStyle>
            <a:lvl1pPr algn="l" defTabSz="91417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0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genda (Static)</a:t>
            </a:r>
            <a:endParaRPr lang="en-US" dirty="0"/>
          </a:p>
        </p:txBody>
      </p:sp>
      <p:pic>
        <p:nvPicPr>
          <p:cNvPr id="13" name="Picture 12" descr="first-slide_v8-2-wom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6541216" y="948266"/>
            <a:ext cx="2602784" cy="4195233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7302501" y="25795"/>
            <a:ext cx="1859568" cy="830972"/>
          </a:xfrm>
          <a:prstGeom prst="rect">
            <a:avLst/>
          </a:prstGeom>
          <a:noFill/>
          <a:effectLst/>
        </p:spPr>
        <p:txBody>
          <a:bodyPr wrap="square" lIns="91416" tIns="45708" rIns="91416" bIns="45708" rtlCol="0">
            <a:spAutoFit/>
          </a:bodyPr>
          <a:lstStyle/>
          <a:p>
            <a:pPr defTabSz="914172"/>
            <a:r>
              <a:rPr lang="en-US" sz="2400" dirty="0" smtClean="0">
                <a:solidFill>
                  <a:srgbClr val="FFFFFF"/>
                </a:solidFill>
                <a:latin typeface="Arial Narrow" pitchFamily="34" charset="0"/>
              </a:rPr>
              <a:t>Talent Management</a:t>
            </a:r>
            <a:endParaRPr lang="en-GB" sz="2400" dirty="0">
              <a:solidFill>
                <a:srgbClr val="FFFFF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757904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Same Side Corner Rectangle 2"/>
          <p:cNvSpPr/>
          <p:nvPr userDrawn="1"/>
        </p:nvSpPr>
        <p:spPr>
          <a:xfrm rot="10800000" flipV="1">
            <a:off x="1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Round Same Side Corner Rectangle 14"/>
          <p:cNvSpPr/>
          <p:nvPr userDrawn="1"/>
        </p:nvSpPr>
        <p:spPr>
          <a:xfrm rot="10800000">
            <a:off x="7340572" y="27857"/>
            <a:ext cx="1032389" cy="219456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Round Same Side Corner Rectangle 15"/>
          <p:cNvSpPr/>
          <p:nvPr userDrawn="1"/>
        </p:nvSpPr>
        <p:spPr>
          <a:xfrm rot="10800000">
            <a:off x="8014986" y="27857"/>
            <a:ext cx="1032389" cy="118872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50000"/>
              <a:alpha val="17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48365" y="1314499"/>
            <a:ext cx="4913195" cy="492919"/>
          </a:xfrm>
          <a:prstGeom prst="roundRect">
            <a:avLst/>
          </a:prstGeom>
          <a:gradFill flip="none" rotWithShape="1">
            <a:gsLst>
              <a:gs pos="42000">
                <a:schemeClr val="bg2">
                  <a:alpha val="70000"/>
                </a:schemeClr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249" rtlCol="0" anchor="ctr"/>
          <a:lstStyle>
            <a:lvl1pPr marL="0" indent="0">
              <a:buFontTx/>
              <a:buNone/>
              <a:defRPr lang="en-US" dirty="0">
                <a:solidFill>
                  <a:srgbClr val="4D4D4D"/>
                </a:solidFill>
                <a:latin typeface="+mn-lt"/>
              </a:defRPr>
            </a:lvl1pPr>
          </a:lstStyle>
          <a:p>
            <a:pPr marL="399951" lvl="0" indent="-399951"/>
            <a:r>
              <a:rPr lang="en-US" dirty="0" smtClean="0"/>
              <a:t>Title 01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48365" y="2033611"/>
            <a:ext cx="4913195" cy="492919"/>
          </a:xfrm>
          <a:prstGeom prst="roundRect">
            <a:avLst/>
          </a:prstGeom>
          <a:gradFill flip="none" rotWithShape="1">
            <a:gsLst>
              <a:gs pos="42000">
                <a:schemeClr val="bg2">
                  <a:alpha val="70000"/>
                </a:schemeClr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249" rtlCol="0" anchor="ctr"/>
          <a:lstStyle>
            <a:lvl1pPr marL="0" indent="0">
              <a:buFontTx/>
              <a:buNone/>
              <a:defRPr lang="en-US" dirty="0">
                <a:solidFill>
                  <a:srgbClr val="4D4D4D"/>
                </a:solidFill>
                <a:latin typeface="+mn-lt"/>
              </a:defRPr>
            </a:lvl1pPr>
          </a:lstStyle>
          <a:p>
            <a:pPr marL="399951" lvl="0" indent="-399951"/>
            <a:r>
              <a:rPr lang="en-US" dirty="0" smtClean="0"/>
              <a:t>Title 02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62013" y="2752718"/>
            <a:ext cx="4913195" cy="492919"/>
          </a:xfrm>
          <a:prstGeom prst="roundRect">
            <a:avLst/>
          </a:prstGeom>
          <a:gradFill flip="none" rotWithShape="1">
            <a:gsLst>
              <a:gs pos="42000">
                <a:schemeClr val="bg2">
                  <a:alpha val="70000"/>
                </a:schemeClr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249" rtlCol="0" anchor="ctr"/>
          <a:lstStyle>
            <a:lvl1pPr marL="0" indent="0">
              <a:buFontTx/>
              <a:buNone/>
              <a:defRPr lang="en-US" dirty="0">
                <a:solidFill>
                  <a:srgbClr val="4D4D4D"/>
                </a:solidFill>
                <a:latin typeface="+mn-lt"/>
              </a:defRPr>
            </a:lvl1pPr>
          </a:lstStyle>
          <a:p>
            <a:pPr marL="399951" lvl="0" indent="-399951"/>
            <a:r>
              <a:rPr lang="en-US" dirty="0" smtClean="0"/>
              <a:t>Title 03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62013" y="3471835"/>
            <a:ext cx="4913195" cy="492919"/>
          </a:xfrm>
          <a:prstGeom prst="roundRect">
            <a:avLst/>
          </a:prstGeom>
          <a:gradFill flip="none" rotWithShape="1">
            <a:gsLst>
              <a:gs pos="42000">
                <a:schemeClr val="bg2">
                  <a:alpha val="70000"/>
                </a:schemeClr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249" rtlCol="0" anchor="ctr"/>
          <a:lstStyle>
            <a:lvl1pPr marL="0" indent="0">
              <a:buFontTx/>
              <a:buNone/>
              <a:defRPr lang="en-US" dirty="0">
                <a:solidFill>
                  <a:srgbClr val="4D4D4D"/>
                </a:solidFill>
                <a:latin typeface="+mn-lt"/>
              </a:defRPr>
            </a:lvl1pPr>
          </a:lstStyle>
          <a:p>
            <a:pPr marL="399951" lvl="0" indent="-399951"/>
            <a:r>
              <a:rPr lang="en-US" dirty="0" smtClean="0"/>
              <a:t>Title 04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70015" y="39161"/>
            <a:ext cx="4999512" cy="628650"/>
          </a:xfrm>
        </p:spPr>
        <p:txBody>
          <a:bodyPr/>
          <a:lstStyle>
            <a:lvl1pPr algn="l" defTabSz="91417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0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genda (Animated)</a:t>
            </a:r>
            <a:endParaRPr lang="en-US" dirty="0"/>
          </a:p>
        </p:txBody>
      </p:sp>
      <p:pic>
        <p:nvPicPr>
          <p:cNvPr id="14" name="Picture 13" descr="first-slide_v8-2-wom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6541216" y="948266"/>
            <a:ext cx="2602784" cy="4195233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7366001" y="25800"/>
            <a:ext cx="1637318" cy="830972"/>
          </a:xfrm>
          <a:prstGeom prst="rect">
            <a:avLst/>
          </a:prstGeom>
          <a:noFill/>
          <a:effectLst/>
        </p:spPr>
        <p:txBody>
          <a:bodyPr wrap="square" lIns="91416" tIns="45708" rIns="91416" bIns="45708" rtlCol="0">
            <a:spAutoFit/>
          </a:bodyPr>
          <a:lstStyle/>
          <a:p>
            <a:pPr defTabSz="914172"/>
            <a:r>
              <a:rPr lang="en-US" sz="2400" dirty="0" smtClean="0">
                <a:solidFill>
                  <a:srgbClr val="FFFFFF"/>
                </a:solidFill>
                <a:latin typeface="Arial Narrow" pitchFamily="34" charset="0"/>
              </a:rPr>
              <a:t>Talent Management</a:t>
            </a:r>
            <a:endParaRPr lang="en-GB" sz="2400" dirty="0">
              <a:solidFill>
                <a:srgbClr val="FFFFF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563097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 animBg="1">
        <p:tmplLst>
          <p:tmpl>
            <p:tnLst>
              <p:par>
                <p:cTn xmlns:p14="http://schemas.microsoft.com/office/powerpoint/2010/main"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p" animBg="1">
        <p:tmplLst>
          <p:tmpl>
            <p:tnLst>
              <p:par>
                <p:cTn xmlns:p14="http://schemas.microsoft.com/office/powerpoint/2010/main"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 animBg="1">
        <p:tmplLst>
          <p:tmpl>
            <p:tnLst>
              <p:par>
                <p:cTn xmlns:p14="http://schemas.microsoft.com/office/powerpoint/2010/main"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 animBg="1">
        <p:tmplLst>
          <p:tmpl>
            <p:tnLst>
              <p:par>
                <p:cTn xmlns:p14="http://schemas.microsoft.com/office/powerpoint/2010/main"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xmlns:p14="http://schemas.microsoft.com/office/powerpoint/2010/main"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79966"/>
            <a:ext cx="9144000" cy="42275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7" y="39161"/>
            <a:ext cx="8685697" cy="628650"/>
          </a:xfrm>
        </p:spPr>
        <p:txBody>
          <a:bodyPr/>
          <a:lstStyle>
            <a:lvl1pPr algn="l" defTabSz="91417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20" y="1008126"/>
            <a:ext cx="8684155" cy="3723894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Round Same Side Corner Rectangle 9"/>
          <p:cNvSpPr/>
          <p:nvPr userDrawn="1"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51387" y="4931526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2" name="Rectangle 5"/>
          <p:cNvSpPr>
            <a:spLocks noChangeArrowheads="1"/>
          </p:cNvSpPr>
          <p:nvPr userDrawn="1"/>
        </p:nvSpPr>
        <p:spPr bwMode="ltGray">
          <a:xfrm>
            <a:off x="7789700" y="4930224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40564" y="4927146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9" name="Round Same Side Corner Rectangle 18"/>
          <p:cNvSpPr/>
          <p:nvPr userDrawn="1"/>
        </p:nvSpPr>
        <p:spPr>
          <a:xfrm rot="10800000">
            <a:off x="7440118" y="694950"/>
            <a:ext cx="932840" cy="198294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" name="Round Same Side Corner Rectangle 19"/>
          <p:cNvSpPr/>
          <p:nvPr userDrawn="1"/>
        </p:nvSpPr>
        <p:spPr>
          <a:xfrm rot="10800000">
            <a:off x="8114541" y="694940"/>
            <a:ext cx="932839" cy="10740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alpha val="8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Rounded Rectangle 20"/>
          <p:cNvSpPr/>
          <p:nvPr userDrawn="1"/>
        </p:nvSpPr>
        <p:spPr>
          <a:xfrm>
            <a:off x="7512305" y="3115609"/>
            <a:ext cx="860654" cy="1388660"/>
          </a:xfrm>
          <a:prstGeom prst="roundRect">
            <a:avLst>
              <a:gd name="adj" fmla="val 50000"/>
            </a:avLst>
          </a:prstGeom>
          <a:solidFill>
            <a:srgbClr val="0096D6">
              <a:alpha val="8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137533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79966"/>
            <a:ext cx="9144000" cy="42275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7" y="39161"/>
            <a:ext cx="8685697" cy="628650"/>
          </a:xfrm>
        </p:spPr>
        <p:txBody>
          <a:bodyPr/>
          <a:lstStyle>
            <a:lvl1pPr algn="l" defTabSz="91417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008126"/>
            <a:ext cx="8684154" cy="3723894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Round Same Side Corner Rectangle 9"/>
          <p:cNvSpPr/>
          <p:nvPr userDrawn="1"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51387" y="4931526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2" name="Rectangle 5"/>
          <p:cNvSpPr>
            <a:spLocks noChangeArrowheads="1"/>
          </p:cNvSpPr>
          <p:nvPr userDrawn="1"/>
        </p:nvSpPr>
        <p:spPr bwMode="ltGray">
          <a:xfrm>
            <a:off x="7789700" y="4930224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40564" y="4927146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4362008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679966"/>
            <a:ext cx="9144000" cy="42275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Round Same Side Corner Rectangle 6"/>
          <p:cNvSpPr/>
          <p:nvPr userDrawn="1"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7" y="39161"/>
            <a:ext cx="8685697" cy="628650"/>
          </a:xfrm>
        </p:spPr>
        <p:txBody>
          <a:bodyPr/>
          <a:lstStyle>
            <a:lvl1pPr algn="l" defTabSz="91417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23" y="1004810"/>
            <a:ext cx="4217085" cy="3724275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rgbClr val="435153"/>
                </a:solidFill>
                <a:latin typeface="+mj-lt"/>
              </a:defRPr>
            </a:lvl2pPr>
            <a:lvl3pPr>
              <a:defRPr sz="1200">
                <a:solidFill>
                  <a:srgbClr val="435153"/>
                </a:solidFill>
                <a:latin typeface="+mj-lt"/>
              </a:defRPr>
            </a:lvl3pPr>
            <a:lvl4pPr>
              <a:defRPr sz="1100">
                <a:solidFill>
                  <a:srgbClr val="435153"/>
                </a:solidFill>
                <a:latin typeface="+mj-lt"/>
              </a:defRPr>
            </a:lvl4pPr>
            <a:lvl5pPr>
              <a:defRPr sz="1100"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92" y="1004810"/>
            <a:ext cx="4217085" cy="3724275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rgbClr val="435153"/>
                </a:solidFill>
                <a:latin typeface="+mj-lt"/>
              </a:defRPr>
            </a:lvl2pPr>
            <a:lvl3pPr>
              <a:defRPr sz="1200">
                <a:solidFill>
                  <a:srgbClr val="435153"/>
                </a:solidFill>
                <a:latin typeface="+mj-lt"/>
              </a:defRPr>
            </a:lvl3pPr>
            <a:lvl4pPr>
              <a:defRPr sz="1100">
                <a:solidFill>
                  <a:srgbClr val="435153"/>
                </a:solidFill>
                <a:latin typeface="+mj-lt"/>
              </a:defRPr>
            </a:lvl4pPr>
            <a:lvl5pPr>
              <a:defRPr sz="1100"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251387" y="4931526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7789700" y="4930224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8640564" y="4927146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2860301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/>
          <p:cNvSpPr/>
          <p:nvPr userDrawn="1"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679957"/>
            <a:ext cx="9144000" cy="42275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5" y="39161"/>
            <a:ext cx="8685697" cy="628650"/>
          </a:xfrm>
        </p:spPr>
        <p:txBody>
          <a:bodyPr/>
          <a:lstStyle>
            <a:lvl1pPr>
              <a:defRPr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251376" y="4931497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8640522" y="4927118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5560833" y="679957"/>
            <a:ext cx="3583171" cy="4259729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13500000" scaled="1"/>
            <a:tileRect/>
          </a:gra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Round Same Side Corner Rectangle 32"/>
          <p:cNvSpPr/>
          <p:nvPr userDrawn="1"/>
        </p:nvSpPr>
        <p:spPr>
          <a:xfrm rot="10800000">
            <a:off x="7440118" y="694941"/>
            <a:ext cx="932840" cy="198294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Round Same Side Corner Rectangle 33"/>
          <p:cNvSpPr/>
          <p:nvPr userDrawn="1"/>
        </p:nvSpPr>
        <p:spPr>
          <a:xfrm rot="10800000">
            <a:off x="8114529" y="694940"/>
            <a:ext cx="932839" cy="10740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ounded Rectangle 34"/>
          <p:cNvSpPr/>
          <p:nvPr userDrawn="1"/>
        </p:nvSpPr>
        <p:spPr>
          <a:xfrm>
            <a:off x="7512305" y="3115609"/>
            <a:ext cx="860654" cy="1388660"/>
          </a:xfrm>
          <a:prstGeom prst="roundRect">
            <a:avLst>
              <a:gd name="adj" fmla="val 50000"/>
            </a:avLst>
          </a:prstGeom>
          <a:solidFill>
            <a:srgbClr val="0096D6">
              <a:alpha val="35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6" y="1008126"/>
            <a:ext cx="5060419" cy="3723894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5918202" y="1202266"/>
            <a:ext cx="2912533" cy="326794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587419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679966"/>
            <a:ext cx="9144000" cy="42275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Round Same Side Corner Rectangle 16"/>
          <p:cNvSpPr/>
          <p:nvPr userDrawn="1"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4" y="1004810"/>
            <a:ext cx="4256086" cy="3724275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229717" y="39161"/>
            <a:ext cx="8685697" cy="6286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2934041" y="2829656"/>
            <a:ext cx="3771900" cy="72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6000">
                <a:srgbClr val="008851"/>
              </a:gs>
              <a:gs pos="21000">
                <a:srgbClr val="01BBBB"/>
              </a:gs>
              <a:gs pos="100000">
                <a:schemeClr val="accent4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IN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251387" y="4931526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21" name="Rectangle 5"/>
          <p:cNvSpPr>
            <a:spLocks noChangeArrowheads="1"/>
          </p:cNvSpPr>
          <p:nvPr userDrawn="1"/>
        </p:nvSpPr>
        <p:spPr bwMode="ltGray">
          <a:xfrm>
            <a:off x="7789700" y="4930224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8640564" y="4927146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221223" y="1310763"/>
            <a:ext cx="3499444" cy="678904"/>
          </a:xfrm>
        </p:spPr>
        <p:txBody>
          <a:bodyPr>
            <a:noAutofit/>
          </a:bodyPr>
          <a:lstStyle>
            <a:lvl1pPr marL="114270" indent="-114270" algn="l" defTabSz="914172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chemeClr val="tx1"/>
                    </a:gs>
                    <a:gs pos="47000">
                      <a:schemeClr val="accent2"/>
                    </a:gs>
                    <a:gs pos="100000">
                      <a:schemeClr val="accent4"/>
                    </a:gs>
                  </a:gsLst>
                  <a:lin ang="3600000" scaled="0"/>
                </a:gradFill>
                <a:latin typeface="+mj-lt"/>
                <a:ea typeface="+mn-ea"/>
                <a:cs typeface="+mn-cs"/>
              </a:defRPr>
            </a:lvl1pPr>
            <a:lvl2pPr marL="114270" indent="-114270" algn="l" defTabSz="91417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0" indent="-114270" algn="l" defTabSz="91417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0" indent="-114270" algn="l" defTabSz="91417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0" indent="-114270" algn="l" defTabSz="91417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“This is the sample </a:t>
            </a:r>
            <a:br>
              <a:rPr lang="en-US" dirty="0" smtClean="0"/>
            </a:br>
            <a:r>
              <a:rPr lang="en-US" dirty="0" smtClean="0"/>
              <a:t>pull quote.”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334000" y="3657600"/>
            <a:ext cx="3276600" cy="342900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Source Name</a:t>
            </a:r>
            <a:endParaRPr lang="en-US" dirty="0"/>
          </a:p>
        </p:txBody>
      </p:sp>
      <p:sp>
        <p:nvSpPr>
          <p:cNvPr id="25" name="Round Same Side Corner Rectangle 24"/>
          <p:cNvSpPr/>
          <p:nvPr userDrawn="1"/>
        </p:nvSpPr>
        <p:spPr>
          <a:xfrm rot="10800000">
            <a:off x="7440118" y="694950"/>
            <a:ext cx="932840" cy="198294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Round Same Side Corner Rectangle 25"/>
          <p:cNvSpPr/>
          <p:nvPr userDrawn="1"/>
        </p:nvSpPr>
        <p:spPr>
          <a:xfrm rot="10800000">
            <a:off x="8114541" y="694940"/>
            <a:ext cx="932839" cy="10740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alpha val="8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Rounded Rectangle 26"/>
          <p:cNvSpPr/>
          <p:nvPr userDrawn="1"/>
        </p:nvSpPr>
        <p:spPr>
          <a:xfrm>
            <a:off x="7512305" y="3115609"/>
            <a:ext cx="860654" cy="1388660"/>
          </a:xfrm>
          <a:prstGeom prst="roundRect">
            <a:avLst>
              <a:gd name="adj" fmla="val 50000"/>
            </a:avLst>
          </a:prstGeom>
          <a:solidFill>
            <a:srgbClr val="0096D6">
              <a:alpha val="8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0133951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/>
          <p:cNvSpPr/>
          <p:nvPr userDrawn="1"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679966"/>
            <a:ext cx="9144000" cy="42275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7" y="39161"/>
            <a:ext cx="8685697" cy="628650"/>
          </a:xfrm>
        </p:spPr>
        <p:txBody>
          <a:bodyPr/>
          <a:lstStyle>
            <a:lvl1pPr>
              <a:defRPr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251387" y="4931526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7789700" y="4930224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8640564" y="4927146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5560845" y="679966"/>
            <a:ext cx="3583171" cy="4259729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13500000" scaled="1"/>
            <a:tileRect/>
          </a:gra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Round Same Side Corner Rectangle 32"/>
          <p:cNvSpPr/>
          <p:nvPr userDrawn="1"/>
        </p:nvSpPr>
        <p:spPr>
          <a:xfrm rot="10800000">
            <a:off x="7440118" y="694950"/>
            <a:ext cx="932840" cy="198294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Round Same Side Corner Rectangle 33"/>
          <p:cNvSpPr/>
          <p:nvPr userDrawn="1"/>
        </p:nvSpPr>
        <p:spPr>
          <a:xfrm rot="10800000">
            <a:off x="8114541" y="694940"/>
            <a:ext cx="932839" cy="10740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ounded Rectangle 34"/>
          <p:cNvSpPr/>
          <p:nvPr userDrawn="1"/>
        </p:nvSpPr>
        <p:spPr>
          <a:xfrm>
            <a:off x="7512305" y="3115609"/>
            <a:ext cx="860654" cy="1388660"/>
          </a:xfrm>
          <a:prstGeom prst="roundRect">
            <a:avLst>
              <a:gd name="adj" fmla="val 50000"/>
            </a:avLst>
          </a:prstGeom>
          <a:solidFill>
            <a:srgbClr val="0096D6">
              <a:alpha val="35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22" y="1008126"/>
            <a:ext cx="5060419" cy="3723894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5918208" y="1202266"/>
            <a:ext cx="2912533" cy="326794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43369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0" y="679966"/>
            <a:ext cx="9144000" cy="42275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Round Same Side Corner Rectangle 21"/>
          <p:cNvSpPr/>
          <p:nvPr userDrawn="1"/>
        </p:nvSpPr>
        <p:spPr>
          <a:xfrm rot="10800000">
            <a:off x="7440118" y="694950"/>
            <a:ext cx="932840" cy="198294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Round Same Side Corner Rectangle 26"/>
          <p:cNvSpPr/>
          <p:nvPr userDrawn="1"/>
        </p:nvSpPr>
        <p:spPr>
          <a:xfrm rot="10800000">
            <a:off x="8114541" y="694940"/>
            <a:ext cx="932839" cy="10740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alpha val="8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Rounded Rectangle 27"/>
          <p:cNvSpPr/>
          <p:nvPr userDrawn="1"/>
        </p:nvSpPr>
        <p:spPr>
          <a:xfrm>
            <a:off x="7512305" y="3115609"/>
            <a:ext cx="860654" cy="1388660"/>
          </a:xfrm>
          <a:prstGeom prst="roundRect">
            <a:avLst>
              <a:gd name="adj" fmla="val 50000"/>
            </a:avLst>
          </a:prstGeom>
          <a:solidFill>
            <a:srgbClr val="0096D6">
              <a:alpha val="8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Round Same Side Corner Rectangle 13"/>
          <p:cNvSpPr/>
          <p:nvPr userDrawn="1"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229702" y="-4181"/>
            <a:ext cx="4123944" cy="628650"/>
          </a:xfrm>
        </p:spPr>
        <p:txBody>
          <a:bodyPr vert="horz" lIns="82278" tIns="45708" rIns="82278" bIns="45708" rtlCol="0" anchor="t" anchorCtr="0">
            <a:noAutofit/>
          </a:bodyPr>
          <a:lstStyle>
            <a:lvl1pPr algn="l" defTabSz="91417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600" b="0" kern="1200" spc="-100" baseline="0" dirty="0" smtClean="0"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19455" y="899556"/>
            <a:ext cx="4142232" cy="3695304"/>
          </a:xfrm>
        </p:spPr>
        <p:txBody>
          <a:bodyPr/>
          <a:lstStyle>
            <a:lvl1pPr marL="0" indent="0">
              <a:buNone/>
              <a:defRPr>
                <a:solidFill>
                  <a:srgbClr val="435153"/>
                </a:solidFill>
                <a:latin typeface="+mj-lt"/>
              </a:defRPr>
            </a:lvl1pPr>
            <a:lvl2pPr marL="634840" indent="-228546">
              <a:buClr>
                <a:schemeClr val="accent5"/>
              </a:buClr>
              <a:buFont typeface="Arial" pitchFamily="34" charset="0"/>
              <a:buChar char="•"/>
              <a:tabLst/>
              <a:defRPr>
                <a:solidFill>
                  <a:srgbClr val="435153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818895" y="899556"/>
            <a:ext cx="4104979" cy="3695304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rgbClr val="435153"/>
                </a:solidFill>
                <a:latin typeface="+mj-lt"/>
              </a:defRPr>
            </a:lvl1pPr>
            <a:lvl2pPr marL="634840" indent="-228546">
              <a:buClr>
                <a:schemeClr val="accent1">
                  <a:lumMod val="40000"/>
                  <a:lumOff val="60000"/>
                </a:schemeClr>
              </a:buClr>
              <a:buFont typeface="Arial" pitchFamily="34" charset="0"/>
              <a:buChar char="•"/>
              <a:defRPr>
                <a:solidFill>
                  <a:srgbClr val="435153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21" name="Rectangle 20"/>
          <p:cNvSpPr/>
          <p:nvPr userDrawn="1"/>
        </p:nvSpPr>
        <p:spPr>
          <a:xfrm rot="5400000">
            <a:off x="2696541" y="2767313"/>
            <a:ext cx="3771900" cy="72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6000">
                <a:srgbClr val="008851"/>
              </a:gs>
              <a:gs pos="21000">
                <a:srgbClr val="01BBBB"/>
              </a:gs>
              <a:gs pos="100000">
                <a:schemeClr val="accent4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IN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4"/>
          <p:cNvSpPr>
            <a:spLocks noChangeArrowheads="1"/>
          </p:cNvSpPr>
          <p:nvPr userDrawn="1"/>
        </p:nvSpPr>
        <p:spPr bwMode="ltGray">
          <a:xfrm>
            <a:off x="251387" y="4931526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89700" y="4930224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40564" y="4927146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30" name="Text Placeholder 20"/>
          <p:cNvSpPr>
            <a:spLocks noGrp="1" noChangeAspect="1"/>
          </p:cNvSpPr>
          <p:nvPr userDrawn="1">
            <p:ph type="body" sz="quarter" idx="19" hasCustomPrompt="1"/>
          </p:nvPr>
        </p:nvSpPr>
        <p:spPr>
          <a:xfrm>
            <a:off x="4809514" y="1175"/>
            <a:ext cx="4114361" cy="617959"/>
          </a:xfrm>
        </p:spPr>
        <p:txBody>
          <a:bodyPr vert="horz" lIns="82278" tIns="45708" rIns="82278" bIns="45708" rtlCol="0" anchor="t" anchorCtr="0">
            <a:noAutofit/>
          </a:bodyPr>
          <a:lstStyle>
            <a:lvl1pPr>
              <a:defRPr lang="en-US" sz="2600" b="0" spc="-100" baseline="0" dirty="0" smtClean="0"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ea typeface="+mj-ea"/>
                <a:cs typeface="+mj-cs"/>
              </a:defRPr>
            </a:lvl1pPr>
          </a:lstStyle>
          <a:p>
            <a:pPr lvl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dirty="0" smtClean="0"/>
              <a:t>Two Column</a:t>
            </a:r>
          </a:p>
          <a:p>
            <a:pPr lvl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dirty="0" smtClean="0"/>
              <a:t>Title Right</a:t>
            </a:r>
          </a:p>
        </p:txBody>
      </p:sp>
    </p:spTree>
    <p:extLst>
      <p:ext uri="{BB962C8B-B14F-4D97-AF65-F5344CB8AC3E}">
        <p14:creationId xmlns:p14="http://schemas.microsoft.com/office/powerpoint/2010/main" val="3664724576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679966"/>
            <a:ext cx="9144000" cy="42275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Round Same Side Corner Rectangle 27"/>
          <p:cNvSpPr/>
          <p:nvPr userDrawn="1"/>
        </p:nvSpPr>
        <p:spPr>
          <a:xfrm rot="10800000">
            <a:off x="7440118" y="694950"/>
            <a:ext cx="932840" cy="198294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Round Same Side Corner Rectangle 29"/>
          <p:cNvSpPr/>
          <p:nvPr userDrawn="1"/>
        </p:nvSpPr>
        <p:spPr>
          <a:xfrm rot="10800000">
            <a:off x="8114541" y="694940"/>
            <a:ext cx="932839" cy="107409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alpha val="8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Rounded Rectangle 30"/>
          <p:cNvSpPr/>
          <p:nvPr userDrawn="1"/>
        </p:nvSpPr>
        <p:spPr>
          <a:xfrm>
            <a:off x="7512305" y="3115609"/>
            <a:ext cx="860654" cy="1388660"/>
          </a:xfrm>
          <a:prstGeom prst="roundRect">
            <a:avLst>
              <a:gd name="adj" fmla="val 50000"/>
            </a:avLst>
          </a:prstGeom>
          <a:solidFill>
            <a:srgbClr val="0096D6">
              <a:alpha val="8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Round Same Side Corner Rectangle 15"/>
          <p:cNvSpPr/>
          <p:nvPr userDrawn="1"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Text Placeholder 20"/>
          <p:cNvSpPr>
            <a:spLocks noGrp="1" noChangeAspect="1"/>
          </p:cNvSpPr>
          <p:nvPr userDrawn="1">
            <p:ph type="body" sz="quarter" idx="17"/>
          </p:nvPr>
        </p:nvSpPr>
        <p:spPr>
          <a:xfrm>
            <a:off x="210989" y="54606"/>
            <a:ext cx="2670048" cy="681265"/>
          </a:xfrm>
        </p:spPr>
        <p:txBody>
          <a:bodyPr anchor="b" anchorCtr="0">
            <a:noAutofit/>
          </a:bodyPr>
          <a:lstStyle>
            <a:lvl1pPr marL="0" marR="0" indent="0" algn="l" defTabSz="91417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0" i="0" u="none" strike="noStrike" kern="1200" cap="none" spc="-100" normalizeH="0" baseline="0" noProof="0" dirty="0" smtClean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  <a:lvl2pPr>
              <a:defRPr sz="1600"/>
            </a:lvl2pPr>
          </a:lstStyle>
          <a:p>
            <a:pPr marL="0" marR="0" lvl="0" indent="0" algn="l" defTabSz="91417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  <a:p>
            <a:pPr marL="0" marR="0" lvl="1" indent="0" algn="l" defTabSz="91417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Second level</a:t>
            </a:r>
          </a:p>
        </p:txBody>
      </p:sp>
      <p:sp>
        <p:nvSpPr>
          <p:cNvPr id="22" name="Text Placeholder 20"/>
          <p:cNvSpPr>
            <a:spLocks noGrp="1"/>
          </p:cNvSpPr>
          <p:nvPr userDrawn="1">
            <p:ph type="body" sz="quarter" idx="18"/>
          </p:nvPr>
        </p:nvSpPr>
        <p:spPr>
          <a:xfrm>
            <a:off x="3246797" y="54606"/>
            <a:ext cx="2670048" cy="681265"/>
          </a:xfrm>
        </p:spPr>
        <p:txBody>
          <a:bodyPr anchor="b" anchorCtr="0">
            <a:noAutofit/>
          </a:bodyPr>
          <a:lstStyle>
            <a:lvl1pPr marL="0" marR="0" indent="0" algn="l" defTabSz="91417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0" i="0" u="none" strike="noStrike" kern="1200" cap="none" spc="-100" normalizeH="0" baseline="0" noProof="0" dirty="0" smtClean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  <a:lvl2pPr>
              <a:defRPr sz="1600"/>
            </a:lvl2pPr>
          </a:lstStyle>
          <a:p>
            <a:pPr marL="0" marR="0" lvl="0" indent="0" algn="l" defTabSz="91417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  <a:p>
            <a:pPr marL="0" marR="0" lvl="1" indent="0" algn="l" defTabSz="91417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Second level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 userDrawn="1">
            <p:ph type="body" sz="quarter" idx="19"/>
          </p:nvPr>
        </p:nvSpPr>
        <p:spPr>
          <a:xfrm>
            <a:off x="6264835" y="54606"/>
            <a:ext cx="2670048" cy="681265"/>
          </a:xfrm>
        </p:spPr>
        <p:txBody>
          <a:bodyPr anchor="b" anchorCtr="0">
            <a:noAutofit/>
          </a:bodyPr>
          <a:lstStyle>
            <a:lvl1pPr marL="0" marR="0" indent="0" algn="l" defTabSz="91417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0" i="0" u="none" strike="noStrike" kern="1200" cap="none" spc="-100" normalizeH="0" baseline="0" noProof="0" dirty="0" smtClean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rgbClr val="01BBBB"/>
                    </a:gs>
                  </a:gsLst>
                  <a:lin ang="2400000" scaled="0"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  <a:lvl2pPr>
              <a:defRPr sz="1600"/>
            </a:lvl2pPr>
          </a:lstStyle>
          <a:p>
            <a:pPr marL="0" marR="0" lvl="0" indent="0" algn="l" defTabSz="91417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  <a:p>
            <a:pPr marL="0" marR="0" lvl="1" indent="0" algn="l" defTabSz="91417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Second level</a:t>
            </a:r>
          </a:p>
        </p:txBody>
      </p:sp>
      <p:sp>
        <p:nvSpPr>
          <p:cNvPr id="17" name="Rectangle 4"/>
          <p:cNvSpPr>
            <a:spLocks noChangeArrowheads="1"/>
          </p:cNvSpPr>
          <p:nvPr userDrawn="1"/>
        </p:nvSpPr>
        <p:spPr bwMode="ltGray">
          <a:xfrm>
            <a:off x="251387" y="4931526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8" name="Rectangle 5"/>
          <p:cNvSpPr>
            <a:spLocks noChangeArrowheads="1"/>
          </p:cNvSpPr>
          <p:nvPr userDrawn="1"/>
        </p:nvSpPr>
        <p:spPr bwMode="ltGray">
          <a:xfrm>
            <a:off x="7789700" y="4930224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8640564" y="4927146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20" name="Rectangle 19"/>
          <p:cNvSpPr/>
          <p:nvPr userDrawn="1"/>
        </p:nvSpPr>
        <p:spPr>
          <a:xfrm rot="5400000">
            <a:off x="1179949" y="2739113"/>
            <a:ext cx="3771900" cy="72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6000">
                <a:srgbClr val="008851"/>
              </a:gs>
              <a:gs pos="21000">
                <a:srgbClr val="01BBBB"/>
              </a:gs>
              <a:gs pos="100000">
                <a:schemeClr val="accent4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IN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22"/>
          <p:cNvSpPr/>
          <p:nvPr userDrawn="1"/>
        </p:nvSpPr>
        <p:spPr>
          <a:xfrm rot="5400000">
            <a:off x="4217974" y="2739113"/>
            <a:ext cx="3771900" cy="72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6000">
                <a:srgbClr val="008851"/>
              </a:gs>
              <a:gs pos="21000">
                <a:srgbClr val="01BBBB"/>
              </a:gs>
              <a:gs pos="100000">
                <a:schemeClr val="accent4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IN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Text Placeholder 12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36008" y="861072"/>
            <a:ext cx="2622550" cy="3293269"/>
          </a:xfrm>
          <a:prstGeom prst="rect">
            <a:avLst/>
          </a:prstGeom>
        </p:spPr>
        <p:txBody>
          <a:bodyPr/>
          <a:lstStyle>
            <a:lvl1pPr marL="228546" marR="0" indent="-228546" algn="l" defTabSz="914172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itchFamily="34" charset="0"/>
              <a:buChar char="•"/>
              <a:tabLst/>
              <a:defRPr kumimoji="0" lang="en-US" sz="1800" b="0" i="0" u="none" strike="noStrike" kern="1200" cap="none" spc="0" normalizeH="0" baseline="0" noProof="0"/>
            </a:lvl1pPr>
            <a:lvl2pPr>
              <a:defRPr>
                <a:latin typeface="+mj-lt"/>
                <a:cs typeface="Arial" pitchFamily="34" charset="0"/>
              </a:defRPr>
            </a:lvl2pPr>
            <a:lvl3pPr>
              <a:defRPr>
                <a:latin typeface="+mj-lt"/>
                <a:cs typeface="Arial" pitchFamily="34" charset="0"/>
              </a:defRPr>
            </a:lvl3pPr>
            <a:lvl4pPr>
              <a:defRPr>
                <a:latin typeface="+mj-lt"/>
                <a:cs typeface="Arial" pitchFamily="34" charset="0"/>
              </a:defRPr>
            </a:lvl4pPr>
            <a:lvl5pPr>
              <a:defRPr>
                <a:latin typeface="+mj-lt"/>
                <a:cs typeface="Arial" pitchFamily="34" charset="0"/>
              </a:defRPr>
            </a:lvl5pPr>
          </a:lstStyle>
          <a:p>
            <a:pPr marL="228546" marR="0" lvl="0" indent="-228546" algn="l" defTabSz="914172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srgbClr val="54656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ample text placed here to see how each level of information will be displayed in the final template</a:t>
            </a:r>
          </a:p>
          <a:p>
            <a:pPr marL="228546" marR="0" lvl="0" indent="-228546" algn="l" defTabSz="914172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srgbClr val="54656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f you want to colorize the text, you can select a new color from the palette to fill it with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546568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6" name="Text Placeholder 12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3260347" y="861072"/>
            <a:ext cx="2622550" cy="3293269"/>
          </a:xfrm>
          <a:prstGeom prst="rect">
            <a:avLst/>
          </a:prstGeom>
        </p:spPr>
        <p:txBody>
          <a:bodyPr/>
          <a:lstStyle>
            <a:lvl1pPr marL="228546" marR="0" indent="-228546" algn="l" defTabSz="914172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•"/>
              <a:tabLst/>
              <a:defRPr kumimoji="0" lang="en-US" sz="1800" b="0" i="0" u="none" strike="noStrike" kern="1200" cap="none" spc="0" normalizeH="0" baseline="0" noProof="0"/>
            </a:lvl1pPr>
            <a:lvl2pPr>
              <a:defRPr>
                <a:latin typeface="+mj-lt"/>
                <a:cs typeface="Arial" pitchFamily="34" charset="0"/>
              </a:defRPr>
            </a:lvl2pPr>
            <a:lvl3pPr>
              <a:defRPr>
                <a:latin typeface="+mj-lt"/>
                <a:cs typeface="Arial" pitchFamily="34" charset="0"/>
              </a:defRPr>
            </a:lvl3pPr>
            <a:lvl4pPr>
              <a:defRPr>
                <a:latin typeface="+mj-lt"/>
                <a:cs typeface="Arial" pitchFamily="34" charset="0"/>
              </a:defRPr>
            </a:lvl4pPr>
            <a:lvl5pPr>
              <a:defRPr>
                <a:latin typeface="+mj-lt"/>
                <a:cs typeface="Arial" pitchFamily="34" charset="0"/>
              </a:defRPr>
            </a:lvl5pPr>
          </a:lstStyle>
          <a:p>
            <a:pPr marL="228546" marR="0" lvl="0" indent="-228546" algn="l" defTabSz="914172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srgbClr val="54656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ample text placed here to see how each level of information will be displayed in the final template</a:t>
            </a:r>
          </a:p>
          <a:p>
            <a:pPr marL="228546" marR="0" lvl="0" indent="-228546" algn="l" defTabSz="914172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srgbClr val="54656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f you want to colorize the text, you can select a new color from the palette to fill it with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546568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7" name="Text Placeholder 12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6284686" y="861072"/>
            <a:ext cx="2622550" cy="3293269"/>
          </a:xfrm>
          <a:prstGeom prst="rect">
            <a:avLst/>
          </a:prstGeom>
        </p:spPr>
        <p:txBody>
          <a:bodyPr/>
          <a:lstStyle>
            <a:lvl1pPr marL="228546" marR="0" indent="-228546" algn="l" defTabSz="914172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•"/>
              <a:tabLst/>
              <a:defRPr kumimoji="0" lang="en-US" sz="1800" b="0" i="0" u="none" strike="noStrike" kern="1200" cap="none" spc="0" normalizeH="0" baseline="0" noProof="0"/>
            </a:lvl1pPr>
            <a:lvl2pPr>
              <a:defRPr>
                <a:latin typeface="+mj-lt"/>
                <a:cs typeface="Arial" pitchFamily="34" charset="0"/>
              </a:defRPr>
            </a:lvl2pPr>
            <a:lvl3pPr>
              <a:defRPr>
                <a:latin typeface="+mj-lt"/>
                <a:cs typeface="Arial" pitchFamily="34" charset="0"/>
              </a:defRPr>
            </a:lvl3pPr>
            <a:lvl4pPr>
              <a:defRPr>
                <a:latin typeface="+mj-lt"/>
                <a:cs typeface="Arial" pitchFamily="34" charset="0"/>
              </a:defRPr>
            </a:lvl4pPr>
            <a:lvl5pPr>
              <a:defRPr>
                <a:latin typeface="+mj-lt"/>
                <a:cs typeface="Arial" pitchFamily="34" charset="0"/>
              </a:defRPr>
            </a:lvl5pPr>
          </a:lstStyle>
          <a:p>
            <a:pPr marL="228546" marR="0" lvl="0" indent="-228546" algn="l" defTabSz="914172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srgbClr val="54656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ample text placed here to see how each level of information will be displayed in the final template</a:t>
            </a:r>
          </a:p>
          <a:p>
            <a:pPr marL="228546" marR="0" lvl="0" indent="-228546" algn="l" defTabSz="914172" rtl="0" eaLnBrk="1" fontAlgn="auto" latinLnBrk="0" hangingPunct="1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srgbClr val="54656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f you want to colorize the text, you can select a new color from the palette to fill it with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546568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406757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79966"/>
            <a:ext cx="9144000" cy="42275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1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Round Same Side Corner Rectangle 5"/>
          <p:cNvSpPr/>
          <p:nvPr userDrawn="1"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51387" y="4931526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789700" y="4930224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40564" y="4927146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246979" y="35876"/>
            <a:ext cx="8685361" cy="628650"/>
          </a:xfrm>
        </p:spPr>
        <p:txBody>
          <a:bodyPr/>
          <a:lstStyle>
            <a:lvl1pPr algn="l" defTabSz="91417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245533" y="855023"/>
            <a:ext cx="8686800" cy="3481233"/>
          </a:xfrm>
        </p:spPr>
        <p:txBody>
          <a:bodyPr anchor="ctr" anchorCtr="1"/>
          <a:lstStyle>
            <a:lvl1pPr>
              <a:buNone/>
              <a:defRPr>
                <a:latin typeface="+mj-l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5547" y="4546596"/>
            <a:ext cx="7465183" cy="218389"/>
          </a:xfrm>
        </p:spPr>
        <p:txBody>
          <a:bodyPr wrap="square" anchor="b" anchorCtr="0">
            <a:noAutofit/>
          </a:bodyPr>
          <a:lstStyle>
            <a:lvl1pPr algn="l" defTabSz="804665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val="4228285762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1"/>
            <a:ext cx="9144000" cy="514349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ound Same Side Corner Rectangle 4"/>
          <p:cNvSpPr/>
          <p:nvPr userDrawn="1"/>
        </p:nvSpPr>
        <p:spPr>
          <a:xfrm rot="10800000" flipV="1">
            <a:off x="5848892" y="1896535"/>
            <a:ext cx="3295109" cy="3246968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249" tIns="45708" rIns="91416" bIns="45708" rtlCol="0" anchor="ctr"/>
          <a:lstStyle/>
          <a:p>
            <a:pPr marL="457086" lvl="1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147510" y="3051891"/>
            <a:ext cx="2666295" cy="174871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spcBef>
                <a:spcPct val="0"/>
              </a:spcBef>
              <a:defRPr lang="en-US" sz="3200" kern="1200" spc="-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3000" spc="-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Copy and paste this caption box to any full bleed image.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51387" y="4931526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2" name="Rectangle 5"/>
          <p:cNvSpPr>
            <a:spLocks noChangeArrowheads="1"/>
          </p:cNvSpPr>
          <p:nvPr userDrawn="1"/>
        </p:nvSpPr>
        <p:spPr bwMode="ltGray">
          <a:xfrm>
            <a:off x="7789700" y="4930224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40564" y="4927146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377727" y="584594"/>
            <a:ext cx="1714766" cy="4046673"/>
            <a:chOff x="547855" y="1510844"/>
            <a:chExt cx="2250002" cy="5309775"/>
          </a:xfrm>
        </p:grpSpPr>
        <p:sp>
          <p:nvSpPr>
            <p:cNvPr id="15" name="Rounded Rectangle 14"/>
            <p:cNvSpPr/>
            <p:nvPr/>
          </p:nvSpPr>
          <p:spPr>
            <a:xfrm flipH="1">
              <a:off x="547855" y="1510844"/>
              <a:ext cx="726002" cy="3399841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00B2F0">
                    <a:alpha val="60000"/>
                  </a:srgbClr>
                </a:gs>
                <a:gs pos="100000">
                  <a:srgbClr val="96CA4B">
                    <a:alpha val="53000"/>
                  </a:srgb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457086" lvl="1" defTabSz="914172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 flipH="1">
              <a:off x="928855" y="3628485"/>
              <a:ext cx="726002" cy="1893196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60000"/>
                <a:lumOff val="40000"/>
                <a:alpha val="4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72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 flipH="1">
              <a:off x="2071855" y="5460823"/>
              <a:ext cx="726002" cy="1359796"/>
            </a:xfrm>
            <a:prstGeom prst="roundRect">
              <a:avLst>
                <a:gd name="adj" fmla="val 50000"/>
              </a:avLst>
            </a:prstGeom>
            <a:solidFill>
              <a:srgbClr val="B7D333">
                <a:alpha val="3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72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4360185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" y="10"/>
            <a:ext cx="9143999" cy="514349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 userDrawn="1"/>
        </p:nvSpPr>
        <p:spPr>
          <a:xfrm rot="10800000" flipV="1">
            <a:off x="0" y="1"/>
            <a:ext cx="3567922" cy="51435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249" tIns="45708" rIns="91416" bIns="45708" rtlCol="0" anchor="ctr"/>
          <a:lstStyle/>
          <a:p>
            <a:pPr marL="457086" lvl="1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 flipH="1">
            <a:off x="361364" y="11"/>
            <a:ext cx="1522373" cy="3733799"/>
            <a:chOff x="176931" y="1"/>
            <a:chExt cx="1706797" cy="4186120"/>
          </a:xfrm>
        </p:grpSpPr>
        <p:sp>
          <p:nvSpPr>
            <p:cNvPr id="19" name="Round Same Side Corner Rectangle 18"/>
            <p:cNvSpPr/>
            <p:nvPr userDrawn="1"/>
          </p:nvSpPr>
          <p:spPr>
            <a:xfrm rot="10800000">
              <a:off x="176931" y="1"/>
              <a:ext cx="1032389" cy="21945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4">
                <a:lumMod val="75000"/>
                <a:alpha val="2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72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" name="Round Same Side Corner Rectangle 19"/>
            <p:cNvSpPr/>
            <p:nvPr userDrawn="1"/>
          </p:nvSpPr>
          <p:spPr>
            <a:xfrm rot="10800000">
              <a:off x="851339" y="1"/>
              <a:ext cx="1032389" cy="118872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1">
                <a:lumMod val="50000"/>
                <a:alpha val="17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72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" name="Rounded Rectangle 20"/>
            <p:cNvSpPr/>
            <p:nvPr userDrawn="1"/>
          </p:nvSpPr>
          <p:spPr>
            <a:xfrm>
              <a:off x="256820" y="2649268"/>
              <a:ext cx="952500" cy="1536853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75000"/>
                <a:alpha val="23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72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02095" y="2907971"/>
            <a:ext cx="2772906" cy="1757163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spcBef>
                <a:spcPct val="0"/>
              </a:spcBef>
              <a:defRPr lang="en-US" sz="3200" kern="1200" spc="-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3000" spc="-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Copy and paste this caption box to any full bleed image.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51387" y="4931526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2" name="Rectangle 5"/>
          <p:cNvSpPr>
            <a:spLocks noChangeArrowheads="1"/>
          </p:cNvSpPr>
          <p:nvPr userDrawn="1"/>
        </p:nvSpPr>
        <p:spPr bwMode="ltGray">
          <a:xfrm>
            <a:off x="7789700" y="4930224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40564" y="4927146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9982164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 flipV="1">
            <a:off x="217366" y="4766882"/>
            <a:ext cx="8694295" cy="1579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1439066"/>
            <a:ext cx="4117446" cy="2265389"/>
          </a:xfrm>
        </p:spPr>
        <p:txBody>
          <a:bodyPr vert="horz" lIns="82278" tIns="45708" rIns="82278" bIns="45708" rtlCol="0" anchor="ctr" anchorCtr="0">
            <a:noAutofit/>
          </a:bodyPr>
          <a:lstStyle>
            <a:lvl1pPr marL="0" indent="0" algn="l" defTabSz="914172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tx2">
                        <a:lumMod val="75000"/>
                      </a:schemeClr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4" y="233172"/>
            <a:ext cx="3992881" cy="4656582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 rot="5400000">
            <a:off x="2251466" y="2594398"/>
            <a:ext cx="4800600" cy="72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46000">
                <a:srgbClr val="008851"/>
              </a:gs>
              <a:gs pos="21000">
                <a:srgbClr val="01BBBB"/>
              </a:gs>
              <a:gs pos="100000">
                <a:schemeClr val="accent4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IN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ound Same Side Corner Rectangle 10"/>
          <p:cNvSpPr/>
          <p:nvPr userDrawn="1"/>
        </p:nvSpPr>
        <p:spPr>
          <a:xfrm rot="10800000">
            <a:off x="7361353" y="15992"/>
            <a:ext cx="935411" cy="198841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ound Same Side Corner Rectangle 11"/>
          <p:cNvSpPr/>
          <p:nvPr userDrawn="1"/>
        </p:nvSpPr>
        <p:spPr>
          <a:xfrm rot="10800000">
            <a:off x="8035763" y="15983"/>
            <a:ext cx="935411" cy="107705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alpha val="8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Rounded Rectangle 12"/>
          <p:cNvSpPr/>
          <p:nvPr userDrawn="1"/>
        </p:nvSpPr>
        <p:spPr>
          <a:xfrm>
            <a:off x="7433733" y="2665259"/>
            <a:ext cx="863026" cy="1392487"/>
          </a:xfrm>
          <a:prstGeom prst="roundRect">
            <a:avLst>
              <a:gd name="adj" fmla="val 50000"/>
            </a:avLst>
          </a:prstGeom>
          <a:solidFill>
            <a:srgbClr val="0096D6">
              <a:alpha val="8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5980515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1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 build="p">
        <p:tmplLst>
          <p:tmpl lvl="1"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1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 Same Side Corner Rectangle 13"/>
          <p:cNvSpPr/>
          <p:nvPr userDrawn="1"/>
        </p:nvSpPr>
        <p:spPr>
          <a:xfrm rot="10800000" flipV="1">
            <a:off x="1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891875" y="596646"/>
            <a:ext cx="5349240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891875" y="3595766"/>
            <a:ext cx="5347552" cy="7472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900238" y="596646"/>
            <a:ext cx="5329238" cy="300380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ltGray">
          <a:xfrm>
            <a:off x="251387" y="4931526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6" name="Rectangle 5"/>
          <p:cNvSpPr>
            <a:spLocks noChangeArrowheads="1"/>
          </p:cNvSpPr>
          <p:nvPr userDrawn="1"/>
        </p:nvSpPr>
        <p:spPr bwMode="ltGray">
          <a:xfrm>
            <a:off x="7789700" y="4930224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ltGray">
          <a:xfrm>
            <a:off x="8640564" y="4927146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24" name="Round Same Side Corner Rectangle 23"/>
          <p:cNvSpPr/>
          <p:nvPr userDrawn="1"/>
        </p:nvSpPr>
        <p:spPr>
          <a:xfrm rot="10800000">
            <a:off x="7547683" y="8807"/>
            <a:ext cx="825289" cy="175432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Round Same Side Corner Rectangle 24"/>
          <p:cNvSpPr/>
          <p:nvPr userDrawn="1"/>
        </p:nvSpPr>
        <p:spPr>
          <a:xfrm rot="10800000">
            <a:off x="8222091" y="8808"/>
            <a:ext cx="825289" cy="95026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Rounded Rectangle 26"/>
          <p:cNvSpPr/>
          <p:nvPr userDrawn="1"/>
        </p:nvSpPr>
        <p:spPr>
          <a:xfrm>
            <a:off x="7611533" y="2677126"/>
            <a:ext cx="761426" cy="1228556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  <a:alpha val="2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51867150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>
          <a:xfrm rot="10800000" flipV="1">
            <a:off x="1" y="0"/>
            <a:ext cx="9144000" cy="51435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51387" y="4931526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2" name="Rectangle 5"/>
          <p:cNvSpPr>
            <a:spLocks noChangeArrowheads="1"/>
          </p:cNvSpPr>
          <p:nvPr userDrawn="1"/>
        </p:nvSpPr>
        <p:spPr bwMode="ltGray">
          <a:xfrm>
            <a:off x="7789700" y="4930224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40564" y="4927146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38328" y="233172"/>
            <a:ext cx="4453978" cy="251002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38328" y="233172"/>
            <a:ext cx="4453978" cy="2510028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16" tIns="45708" rIns="91416" bIns="45708" rtlCol="0" anchor="ctr" anchorCtr="0">
            <a:normAutofit/>
          </a:bodyPr>
          <a:lstStyle>
            <a:lvl1pPr marL="0" indent="0" algn="ctr" defTabSz="91417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29703" y="2978150"/>
            <a:ext cx="7009298" cy="1466850"/>
          </a:xfrm>
        </p:spPr>
        <p:txBody>
          <a:bodyPr anchor="t">
            <a:noAutofit/>
          </a:bodyPr>
          <a:lstStyle>
            <a:lvl1pPr marL="0" marR="0" indent="0" algn="l" defTabSz="91417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 dirty="0" smtClean="0"/>
              <a:t>Large photo </a:t>
            </a:r>
            <a:br>
              <a:rPr lang="en-US" dirty="0" smtClean="0"/>
            </a:br>
            <a:r>
              <a:rPr lang="en-US" dirty="0" smtClean="0"/>
              <a:t>caption here.</a:t>
            </a:r>
          </a:p>
        </p:txBody>
      </p:sp>
      <p:sp>
        <p:nvSpPr>
          <p:cNvPr id="14" name="Round Same Side Corner Rectangle 13"/>
          <p:cNvSpPr/>
          <p:nvPr userDrawn="1"/>
        </p:nvSpPr>
        <p:spPr>
          <a:xfrm rot="10800000">
            <a:off x="7547683" y="8807"/>
            <a:ext cx="825289" cy="175432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>
              <a:lumMod val="75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Rounded Rectangle 15"/>
          <p:cNvSpPr/>
          <p:nvPr userDrawn="1"/>
        </p:nvSpPr>
        <p:spPr>
          <a:xfrm>
            <a:off x="7611533" y="2677126"/>
            <a:ext cx="761426" cy="1228556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  <a:alpha val="2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Round Same Side Corner Rectangle 16"/>
          <p:cNvSpPr/>
          <p:nvPr userDrawn="1"/>
        </p:nvSpPr>
        <p:spPr>
          <a:xfrm rot="10800000">
            <a:off x="8222091" y="8808"/>
            <a:ext cx="825289" cy="95026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1961123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7.xml"/><Relationship Id="rId14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289.xml"/><Relationship Id="rId16" Type="http://schemas.openxmlformats.org/officeDocument/2006/relationships/slideLayout" Target="../slideLayouts/slideLayout290.xml"/><Relationship Id="rId17" Type="http://schemas.openxmlformats.org/officeDocument/2006/relationships/slideLayout" Target="../slideLayouts/slideLayout291.xml"/><Relationship Id="rId18" Type="http://schemas.openxmlformats.org/officeDocument/2006/relationships/slideLayout" Target="../slideLayouts/slideLayout292.xml"/><Relationship Id="rId19" Type="http://schemas.openxmlformats.org/officeDocument/2006/relationships/slideLayout" Target="../slideLayouts/slideLayout293.xml"/><Relationship Id="rId50" Type="http://schemas.openxmlformats.org/officeDocument/2006/relationships/slideLayout" Target="../slideLayouts/slideLayout324.xml"/><Relationship Id="rId51" Type="http://schemas.openxmlformats.org/officeDocument/2006/relationships/slideLayout" Target="../slideLayouts/slideLayout325.xml"/><Relationship Id="rId52" Type="http://schemas.openxmlformats.org/officeDocument/2006/relationships/slideLayout" Target="../slideLayouts/slideLayout326.xml"/><Relationship Id="rId53" Type="http://schemas.openxmlformats.org/officeDocument/2006/relationships/slideLayout" Target="../slideLayouts/slideLayout327.xml"/><Relationship Id="rId54" Type="http://schemas.openxmlformats.org/officeDocument/2006/relationships/slideLayout" Target="../slideLayouts/slideLayout328.xml"/><Relationship Id="rId55" Type="http://schemas.openxmlformats.org/officeDocument/2006/relationships/slideLayout" Target="../slideLayouts/slideLayout329.xml"/><Relationship Id="rId56" Type="http://schemas.openxmlformats.org/officeDocument/2006/relationships/slideLayout" Target="../slideLayouts/slideLayout330.xml"/><Relationship Id="rId57" Type="http://schemas.openxmlformats.org/officeDocument/2006/relationships/slideLayout" Target="../slideLayouts/slideLayout331.xml"/><Relationship Id="rId58" Type="http://schemas.openxmlformats.org/officeDocument/2006/relationships/slideLayout" Target="../slideLayouts/slideLayout332.xml"/><Relationship Id="rId59" Type="http://schemas.openxmlformats.org/officeDocument/2006/relationships/theme" Target="../theme/theme10.xml"/><Relationship Id="rId40" Type="http://schemas.openxmlformats.org/officeDocument/2006/relationships/slideLayout" Target="../slideLayouts/slideLayout314.xml"/><Relationship Id="rId41" Type="http://schemas.openxmlformats.org/officeDocument/2006/relationships/slideLayout" Target="../slideLayouts/slideLayout315.xml"/><Relationship Id="rId42" Type="http://schemas.openxmlformats.org/officeDocument/2006/relationships/slideLayout" Target="../slideLayouts/slideLayout316.xml"/><Relationship Id="rId43" Type="http://schemas.openxmlformats.org/officeDocument/2006/relationships/slideLayout" Target="../slideLayouts/slideLayout317.xml"/><Relationship Id="rId44" Type="http://schemas.openxmlformats.org/officeDocument/2006/relationships/slideLayout" Target="../slideLayouts/slideLayout318.xml"/><Relationship Id="rId45" Type="http://schemas.openxmlformats.org/officeDocument/2006/relationships/slideLayout" Target="../slideLayouts/slideLayout319.xml"/><Relationship Id="rId46" Type="http://schemas.openxmlformats.org/officeDocument/2006/relationships/slideLayout" Target="../slideLayouts/slideLayout320.xml"/><Relationship Id="rId47" Type="http://schemas.openxmlformats.org/officeDocument/2006/relationships/slideLayout" Target="../slideLayouts/slideLayout321.xml"/><Relationship Id="rId48" Type="http://schemas.openxmlformats.org/officeDocument/2006/relationships/slideLayout" Target="../slideLayouts/slideLayout322.xml"/><Relationship Id="rId49" Type="http://schemas.openxmlformats.org/officeDocument/2006/relationships/slideLayout" Target="../slideLayouts/slideLayout323.xml"/><Relationship Id="rId1" Type="http://schemas.openxmlformats.org/officeDocument/2006/relationships/slideLayout" Target="../slideLayouts/slideLayout275.xml"/><Relationship Id="rId2" Type="http://schemas.openxmlformats.org/officeDocument/2006/relationships/slideLayout" Target="../slideLayouts/slideLayout276.xml"/><Relationship Id="rId3" Type="http://schemas.openxmlformats.org/officeDocument/2006/relationships/slideLayout" Target="../slideLayouts/slideLayout277.xml"/><Relationship Id="rId4" Type="http://schemas.openxmlformats.org/officeDocument/2006/relationships/slideLayout" Target="../slideLayouts/slideLayout278.xml"/><Relationship Id="rId5" Type="http://schemas.openxmlformats.org/officeDocument/2006/relationships/slideLayout" Target="../slideLayouts/slideLayout279.xml"/><Relationship Id="rId6" Type="http://schemas.openxmlformats.org/officeDocument/2006/relationships/slideLayout" Target="../slideLayouts/slideLayout280.xml"/><Relationship Id="rId7" Type="http://schemas.openxmlformats.org/officeDocument/2006/relationships/slideLayout" Target="../slideLayouts/slideLayout281.xml"/><Relationship Id="rId8" Type="http://schemas.openxmlformats.org/officeDocument/2006/relationships/slideLayout" Target="../slideLayouts/slideLayout282.xml"/><Relationship Id="rId9" Type="http://schemas.openxmlformats.org/officeDocument/2006/relationships/slideLayout" Target="../slideLayouts/slideLayout283.xml"/><Relationship Id="rId30" Type="http://schemas.openxmlformats.org/officeDocument/2006/relationships/slideLayout" Target="../slideLayouts/slideLayout304.xml"/><Relationship Id="rId31" Type="http://schemas.openxmlformats.org/officeDocument/2006/relationships/slideLayout" Target="../slideLayouts/slideLayout305.xml"/><Relationship Id="rId32" Type="http://schemas.openxmlformats.org/officeDocument/2006/relationships/slideLayout" Target="../slideLayouts/slideLayout306.xml"/><Relationship Id="rId33" Type="http://schemas.openxmlformats.org/officeDocument/2006/relationships/slideLayout" Target="../slideLayouts/slideLayout307.xml"/><Relationship Id="rId34" Type="http://schemas.openxmlformats.org/officeDocument/2006/relationships/slideLayout" Target="../slideLayouts/slideLayout308.xml"/><Relationship Id="rId35" Type="http://schemas.openxmlformats.org/officeDocument/2006/relationships/slideLayout" Target="../slideLayouts/slideLayout309.xml"/><Relationship Id="rId36" Type="http://schemas.openxmlformats.org/officeDocument/2006/relationships/slideLayout" Target="../slideLayouts/slideLayout310.xml"/><Relationship Id="rId37" Type="http://schemas.openxmlformats.org/officeDocument/2006/relationships/slideLayout" Target="../slideLayouts/slideLayout311.xml"/><Relationship Id="rId38" Type="http://schemas.openxmlformats.org/officeDocument/2006/relationships/slideLayout" Target="../slideLayouts/slideLayout312.xml"/><Relationship Id="rId39" Type="http://schemas.openxmlformats.org/officeDocument/2006/relationships/slideLayout" Target="../slideLayouts/slideLayout313.xml"/><Relationship Id="rId20" Type="http://schemas.openxmlformats.org/officeDocument/2006/relationships/slideLayout" Target="../slideLayouts/slideLayout294.xml"/><Relationship Id="rId21" Type="http://schemas.openxmlformats.org/officeDocument/2006/relationships/slideLayout" Target="../slideLayouts/slideLayout295.xml"/><Relationship Id="rId22" Type="http://schemas.openxmlformats.org/officeDocument/2006/relationships/slideLayout" Target="../slideLayouts/slideLayout296.xml"/><Relationship Id="rId23" Type="http://schemas.openxmlformats.org/officeDocument/2006/relationships/slideLayout" Target="../slideLayouts/slideLayout297.xml"/><Relationship Id="rId24" Type="http://schemas.openxmlformats.org/officeDocument/2006/relationships/slideLayout" Target="../slideLayouts/slideLayout298.xml"/><Relationship Id="rId25" Type="http://schemas.openxmlformats.org/officeDocument/2006/relationships/slideLayout" Target="../slideLayouts/slideLayout299.xml"/><Relationship Id="rId26" Type="http://schemas.openxmlformats.org/officeDocument/2006/relationships/slideLayout" Target="../slideLayouts/slideLayout300.xml"/><Relationship Id="rId27" Type="http://schemas.openxmlformats.org/officeDocument/2006/relationships/slideLayout" Target="../slideLayouts/slideLayout301.xml"/><Relationship Id="rId28" Type="http://schemas.openxmlformats.org/officeDocument/2006/relationships/slideLayout" Target="../slideLayouts/slideLayout302.xml"/><Relationship Id="rId29" Type="http://schemas.openxmlformats.org/officeDocument/2006/relationships/slideLayout" Target="../slideLayouts/slideLayout303.xml"/><Relationship Id="rId10" Type="http://schemas.openxmlformats.org/officeDocument/2006/relationships/slideLayout" Target="../slideLayouts/slideLayout284.xml"/><Relationship Id="rId11" Type="http://schemas.openxmlformats.org/officeDocument/2006/relationships/slideLayout" Target="../slideLayouts/slideLayout285.xml"/><Relationship Id="rId12" Type="http://schemas.openxmlformats.org/officeDocument/2006/relationships/slideLayout" Target="../slideLayouts/slideLayout28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44.xml"/><Relationship Id="rId50" Type="http://schemas.openxmlformats.org/officeDocument/2006/relationships/slideLayout" Target="../slideLayouts/slideLayout75.xml"/><Relationship Id="rId51" Type="http://schemas.openxmlformats.org/officeDocument/2006/relationships/slideLayout" Target="../slideLayouts/slideLayout76.xml"/><Relationship Id="rId52" Type="http://schemas.openxmlformats.org/officeDocument/2006/relationships/slideLayout" Target="../slideLayouts/slideLayout77.xml"/><Relationship Id="rId53" Type="http://schemas.openxmlformats.org/officeDocument/2006/relationships/slideLayout" Target="../slideLayouts/slideLayout78.xml"/><Relationship Id="rId54" Type="http://schemas.openxmlformats.org/officeDocument/2006/relationships/slideLayout" Target="../slideLayouts/slideLayout79.xml"/><Relationship Id="rId55" Type="http://schemas.openxmlformats.org/officeDocument/2006/relationships/slideLayout" Target="../slideLayouts/slideLayout80.xml"/><Relationship Id="rId56" Type="http://schemas.openxmlformats.org/officeDocument/2006/relationships/slideLayout" Target="../slideLayouts/slideLayout81.xml"/><Relationship Id="rId57" Type="http://schemas.openxmlformats.org/officeDocument/2006/relationships/slideLayout" Target="../slideLayouts/slideLayout82.xml"/><Relationship Id="rId58" Type="http://schemas.openxmlformats.org/officeDocument/2006/relationships/theme" Target="../theme/theme2.xml"/><Relationship Id="rId40" Type="http://schemas.openxmlformats.org/officeDocument/2006/relationships/slideLayout" Target="../slideLayouts/slideLayout65.xml"/><Relationship Id="rId41" Type="http://schemas.openxmlformats.org/officeDocument/2006/relationships/slideLayout" Target="../slideLayouts/slideLayout66.xml"/><Relationship Id="rId42" Type="http://schemas.openxmlformats.org/officeDocument/2006/relationships/slideLayout" Target="../slideLayouts/slideLayout67.xml"/><Relationship Id="rId43" Type="http://schemas.openxmlformats.org/officeDocument/2006/relationships/slideLayout" Target="../slideLayouts/slideLayout68.xml"/><Relationship Id="rId44" Type="http://schemas.openxmlformats.org/officeDocument/2006/relationships/slideLayout" Target="../slideLayouts/slideLayout69.xml"/><Relationship Id="rId45" Type="http://schemas.openxmlformats.org/officeDocument/2006/relationships/slideLayout" Target="../slideLayouts/slideLayout70.xml"/><Relationship Id="rId46" Type="http://schemas.openxmlformats.org/officeDocument/2006/relationships/slideLayout" Target="../slideLayouts/slideLayout71.xml"/><Relationship Id="rId47" Type="http://schemas.openxmlformats.org/officeDocument/2006/relationships/slideLayout" Target="../slideLayouts/slideLayout72.xml"/><Relationship Id="rId48" Type="http://schemas.openxmlformats.org/officeDocument/2006/relationships/slideLayout" Target="../slideLayouts/slideLayout73.xml"/><Relationship Id="rId49" Type="http://schemas.openxmlformats.org/officeDocument/2006/relationships/slideLayout" Target="../slideLayouts/slideLayout74.xml"/><Relationship Id="rId1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9.xml"/><Relationship Id="rId5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2.xml"/><Relationship Id="rId8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57.xml"/><Relationship Id="rId33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59.xml"/><Relationship Id="rId35" Type="http://schemas.openxmlformats.org/officeDocument/2006/relationships/slideLayout" Target="../slideLayouts/slideLayout60.xml"/><Relationship Id="rId36" Type="http://schemas.openxmlformats.org/officeDocument/2006/relationships/slideLayout" Target="../slideLayouts/slideLayout61.xml"/><Relationship Id="rId37" Type="http://schemas.openxmlformats.org/officeDocument/2006/relationships/slideLayout" Target="../slideLayouts/slideLayout62.xml"/><Relationship Id="rId38" Type="http://schemas.openxmlformats.org/officeDocument/2006/relationships/slideLayout" Target="../slideLayouts/slideLayout63.xml"/><Relationship Id="rId39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102.xml"/><Relationship Id="rId21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05.xml"/><Relationship Id="rId24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07.xml"/><Relationship Id="rId26" Type="http://schemas.openxmlformats.org/officeDocument/2006/relationships/theme" Target="../theme/theme3.xml"/><Relationship Id="rId10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83.xml"/><Relationship Id="rId2" Type="http://schemas.openxmlformats.org/officeDocument/2006/relationships/slideLayout" Target="../slideLayouts/slideLayout84.xml"/><Relationship Id="rId3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7.xml"/><Relationship Id="rId6" Type="http://schemas.openxmlformats.org/officeDocument/2006/relationships/slideLayout" Target="../slideLayouts/slideLayout88.xml"/><Relationship Id="rId7" Type="http://schemas.openxmlformats.org/officeDocument/2006/relationships/slideLayout" Target="../slideLayouts/slideLayout89.xml"/><Relationship Id="rId8" Type="http://schemas.openxmlformats.org/officeDocument/2006/relationships/slideLayout" Target="../slideLayouts/slideLayout90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27.xml"/><Relationship Id="rId21" Type="http://schemas.openxmlformats.org/officeDocument/2006/relationships/slideLayout" Target="../slideLayouts/slideLayout128.xml"/><Relationship Id="rId22" Type="http://schemas.openxmlformats.org/officeDocument/2006/relationships/slideLayout" Target="../slideLayouts/slideLayout129.xml"/><Relationship Id="rId23" Type="http://schemas.openxmlformats.org/officeDocument/2006/relationships/slideLayout" Target="../slideLayouts/slideLayout130.xml"/><Relationship Id="rId24" Type="http://schemas.openxmlformats.org/officeDocument/2006/relationships/slideLayout" Target="../slideLayouts/slideLayout131.xml"/><Relationship Id="rId25" Type="http://schemas.openxmlformats.org/officeDocument/2006/relationships/slideLayout" Target="../slideLayouts/slideLayout132.xml"/><Relationship Id="rId26" Type="http://schemas.openxmlformats.org/officeDocument/2006/relationships/slideLayout" Target="../slideLayouts/slideLayout133.xml"/><Relationship Id="rId27" Type="http://schemas.openxmlformats.org/officeDocument/2006/relationships/slideLayout" Target="../slideLayouts/slideLayout134.xml"/><Relationship Id="rId28" Type="http://schemas.openxmlformats.org/officeDocument/2006/relationships/slideLayout" Target="../slideLayouts/slideLayout135.xml"/><Relationship Id="rId29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12.xml"/><Relationship Id="rId30" Type="http://schemas.openxmlformats.org/officeDocument/2006/relationships/slideLayout" Target="../slideLayouts/slideLayout137.xml"/><Relationship Id="rId31" Type="http://schemas.openxmlformats.org/officeDocument/2006/relationships/slideLayout" Target="../slideLayouts/slideLayout138.xml"/><Relationship Id="rId32" Type="http://schemas.openxmlformats.org/officeDocument/2006/relationships/theme" Target="../theme/theme4.xml"/><Relationship Id="rId9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4.xml"/><Relationship Id="rId8" Type="http://schemas.openxmlformats.org/officeDocument/2006/relationships/slideLayout" Target="../slideLayouts/slideLayout115.xml"/><Relationship Id="rId33" Type="http://schemas.openxmlformats.org/officeDocument/2006/relationships/image" Target="../media/image10.jpeg"/><Relationship Id="rId10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26.xml"/></Relationships>
</file>

<file path=ppt/slideMasters/_rels/slideMaster5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58.xml"/><Relationship Id="rId21" Type="http://schemas.openxmlformats.org/officeDocument/2006/relationships/slideLayout" Target="../slideLayouts/slideLayout159.xml"/><Relationship Id="rId22" Type="http://schemas.openxmlformats.org/officeDocument/2006/relationships/slideLayout" Target="../slideLayouts/slideLayout160.xml"/><Relationship Id="rId23" Type="http://schemas.openxmlformats.org/officeDocument/2006/relationships/slideLayout" Target="../slideLayouts/slideLayout161.xml"/><Relationship Id="rId24" Type="http://schemas.openxmlformats.org/officeDocument/2006/relationships/slideLayout" Target="../slideLayouts/slideLayout162.xml"/><Relationship Id="rId25" Type="http://schemas.openxmlformats.org/officeDocument/2006/relationships/slideLayout" Target="../slideLayouts/slideLayout163.xml"/><Relationship Id="rId26" Type="http://schemas.openxmlformats.org/officeDocument/2006/relationships/slideLayout" Target="../slideLayouts/slideLayout164.xml"/><Relationship Id="rId27" Type="http://schemas.openxmlformats.org/officeDocument/2006/relationships/slideLayout" Target="../slideLayouts/slideLayout165.xml"/><Relationship Id="rId28" Type="http://schemas.openxmlformats.org/officeDocument/2006/relationships/slideLayout" Target="../slideLayouts/slideLayout166.xml"/><Relationship Id="rId29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43.xml"/><Relationship Id="rId30" Type="http://schemas.openxmlformats.org/officeDocument/2006/relationships/slideLayout" Target="../slideLayouts/slideLayout168.xml"/><Relationship Id="rId31" Type="http://schemas.openxmlformats.org/officeDocument/2006/relationships/slideLayout" Target="../slideLayouts/slideLayout169.xml"/><Relationship Id="rId32" Type="http://schemas.openxmlformats.org/officeDocument/2006/relationships/theme" Target="../theme/theme5.xml"/><Relationship Id="rId9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5.xml"/><Relationship Id="rId8" Type="http://schemas.openxmlformats.org/officeDocument/2006/relationships/slideLayout" Target="../slideLayouts/slideLayout146.xml"/><Relationship Id="rId33" Type="http://schemas.openxmlformats.org/officeDocument/2006/relationships/image" Target="../media/image10.jpeg"/><Relationship Id="rId10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0.xml"/><Relationship Id="rId13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53.xml"/><Relationship Id="rId16" Type="http://schemas.openxmlformats.org/officeDocument/2006/relationships/slideLayout" Target="../slideLayouts/slideLayout154.xml"/><Relationship Id="rId17" Type="http://schemas.openxmlformats.org/officeDocument/2006/relationships/slideLayout" Target="../slideLayouts/slideLayout155.xml"/><Relationship Id="rId18" Type="http://schemas.openxmlformats.org/officeDocument/2006/relationships/slideLayout" Target="../slideLayouts/slideLayout156.xml"/><Relationship Id="rId19" Type="http://schemas.openxmlformats.org/officeDocument/2006/relationships/slideLayout" Target="../slideLayouts/slideLayout157.xml"/></Relationships>
</file>

<file path=ppt/slideMasters/_rels/slideMaster6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89.xml"/><Relationship Id="rId21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2.xml"/><Relationship Id="rId24" Type="http://schemas.openxmlformats.org/officeDocument/2006/relationships/slideLayout" Target="../slideLayouts/slideLayout193.xml"/><Relationship Id="rId25" Type="http://schemas.openxmlformats.org/officeDocument/2006/relationships/slideLayout" Target="../slideLayouts/slideLayout194.xml"/><Relationship Id="rId26" Type="http://schemas.openxmlformats.org/officeDocument/2006/relationships/slideLayout" Target="../slideLayouts/slideLayout195.xml"/><Relationship Id="rId27" Type="http://schemas.openxmlformats.org/officeDocument/2006/relationships/slideLayout" Target="../slideLayouts/slideLayout196.xml"/><Relationship Id="rId28" Type="http://schemas.openxmlformats.org/officeDocument/2006/relationships/slideLayout" Target="../slideLayouts/slideLayout197.xml"/><Relationship Id="rId29" Type="http://schemas.openxmlformats.org/officeDocument/2006/relationships/slideLayout" Target="../slideLayouts/slideLayout198.xml"/><Relationship Id="rId1" Type="http://schemas.openxmlformats.org/officeDocument/2006/relationships/slideLayout" Target="../slideLayouts/slideLayout170.xml"/><Relationship Id="rId2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74.xml"/><Relationship Id="rId30" Type="http://schemas.openxmlformats.org/officeDocument/2006/relationships/slideLayout" Target="../slideLayouts/slideLayout199.xml"/><Relationship Id="rId31" Type="http://schemas.openxmlformats.org/officeDocument/2006/relationships/slideLayout" Target="../slideLayouts/slideLayout200.xml"/><Relationship Id="rId32" Type="http://schemas.openxmlformats.org/officeDocument/2006/relationships/theme" Target="../theme/theme6.xml"/><Relationship Id="rId9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6.xml"/><Relationship Id="rId8" Type="http://schemas.openxmlformats.org/officeDocument/2006/relationships/slideLayout" Target="../slideLayouts/slideLayout177.xml"/><Relationship Id="rId33" Type="http://schemas.openxmlformats.org/officeDocument/2006/relationships/image" Target="../media/image10.jpeg"/><Relationship Id="rId10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1.xml"/><Relationship Id="rId13" Type="http://schemas.openxmlformats.org/officeDocument/2006/relationships/slideLayout" Target="../slideLayouts/slideLayout182.xml"/><Relationship Id="rId14" Type="http://schemas.openxmlformats.org/officeDocument/2006/relationships/slideLayout" Target="../slideLayouts/slideLayout183.xml"/><Relationship Id="rId15" Type="http://schemas.openxmlformats.org/officeDocument/2006/relationships/slideLayout" Target="../slideLayouts/slideLayout184.xml"/><Relationship Id="rId16" Type="http://schemas.openxmlformats.org/officeDocument/2006/relationships/slideLayout" Target="../slideLayouts/slideLayout185.xml"/><Relationship Id="rId17" Type="http://schemas.openxmlformats.org/officeDocument/2006/relationships/slideLayout" Target="../slideLayouts/slideLayout186.xml"/><Relationship Id="rId18" Type="http://schemas.openxmlformats.org/officeDocument/2006/relationships/slideLayout" Target="../slideLayouts/slideLayout187.xml"/><Relationship Id="rId19" Type="http://schemas.openxmlformats.org/officeDocument/2006/relationships/slideLayout" Target="../slideLayouts/slideLayout188.xml"/></Relationships>
</file>

<file path=ppt/slideMasters/_rels/slideMaster7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20.xml"/><Relationship Id="rId21" Type="http://schemas.openxmlformats.org/officeDocument/2006/relationships/slideLayout" Target="../slideLayouts/slideLayout221.xml"/><Relationship Id="rId22" Type="http://schemas.openxmlformats.org/officeDocument/2006/relationships/slideLayout" Target="../slideLayouts/slideLayout222.xml"/><Relationship Id="rId23" Type="http://schemas.openxmlformats.org/officeDocument/2006/relationships/slideLayout" Target="../slideLayouts/slideLayout223.xml"/><Relationship Id="rId24" Type="http://schemas.openxmlformats.org/officeDocument/2006/relationships/slideLayout" Target="../slideLayouts/slideLayout224.xml"/><Relationship Id="rId25" Type="http://schemas.openxmlformats.org/officeDocument/2006/relationships/slideLayout" Target="../slideLayouts/slideLayout225.xml"/><Relationship Id="rId26" Type="http://schemas.openxmlformats.org/officeDocument/2006/relationships/slideLayout" Target="../slideLayouts/slideLayout226.xml"/><Relationship Id="rId27" Type="http://schemas.openxmlformats.org/officeDocument/2006/relationships/slideLayout" Target="../slideLayouts/slideLayout227.xml"/><Relationship Id="rId28" Type="http://schemas.openxmlformats.org/officeDocument/2006/relationships/slideLayout" Target="../slideLayouts/slideLayout228.xml"/><Relationship Id="rId29" Type="http://schemas.openxmlformats.org/officeDocument/2006/relationships/slideLayout" Target="../slideLayouts/slideLayout229.xml"/><Relationship Id="rId1" Type="http://schemas.openxmlformats.org/officeDocument/2006/relationships/slideLayout" Target="../slideLayouts/slideLayout201.xml"/><Relationship Id="rId2" Type="http://schemas.openxmlformats.org/officeDocument/2006/relationships/slideLayout" Target="../slideLayouts/slideLayout202.xml"/><Relationship Id="rId3" Type="http://schemas.openxmlformats.org/officeDocument/2006/relationships/slideLayout" Target="../slideLayouts/slideLayout203.xml"/><Relationship Id="rId4" Type="http://schemas.openxmlformats.org/officeDocument/2006/relationships/slideLayout" Target="../slideLayouts/slideLayout204.xml"/><Relationship Id="rId5" Type="http://schemas.openxmlformats.org/officeDocument/2006/relationships/slideLayout" Target="../slideLayouts/slideLayout205.xml"/><Relationship Id="rId30" Type="http://schemas.openxmlformats.org/officeDocument/2006/relationships/slideLayout" Target="../slideLayouts/slideLayout230.xml"/><Relationship Id="rId31" Type="http://schemas.openxmlformats.org/officeDocument/2006/relationships/slideLayout" Target="../slideLayouts/slideLayout231.xml"/><Relationship Id="rId32" Type="http://schemas.openxmlformats.org/officeDocument/2006/relationships/slideLayout" Target="../slideLayouts/slideLayout232.xml"/><Relationship Id="rId9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06.xml"/><Relationship Id="rId7" Type="http://schemas.openxmlformats.org/officeDocument/2006/relationships/slideLayout" Target="../slideLayouts/slideLayout207.xml"/><Relationship Id="rId8" Type="http://schemas.openxmlformats.org/officeDocument/2006/relationships/slideLayout" Target="../slideLayouts/slideLayout208.xml"/><Relationship Id="rId33" Type="http://schemas.openxmlformats.org/officeDocument/2006/relationships/slideLayout" Target="../slideLayouts/slideLayout233.xml"/><Relationship Id="rId34" Type="http://schemas.openxmlformats.org/officeDocument/2006/relationships/slideLayout" Target="../slideLayouts/slideLayout234.xml"/><Relationship Id="rId35" Type="http://schemas.openxmlformats.org/officeDocument/2006/relationships/theme" Target="../theme/theme7.xml"/><Relationship Id="rId10" Type="http://schemas.openxmlformats.org/officeDocument/2006/relationships/slideLayout" Target="../slideLayouts/slideLayout210.xml"/><Relationship Id="rId11" Type="http://schemas.openxmlformats.org/officeDocument/2006/relationships/slideLayout" Target="../slideLayouts/slideLayout211.xml"/><Relationship Id="rId12" Type="http://schemas.openxmlformats.org/officeDocument/2006/relationships/slideLayout" Target="../slideLayouts/slideLayout212.xml"/><Relationship Id="rId13" Type="http://schemas.openxmlformats.org/officeDocument/2006/relationships/slideLayout" Target="../slideLayouts/slideLayout213.xml"/><Relationship Id="rId14" Type="http://schemas.openxmlformats.org/officeDocument/2006/relationships/slideLayout" Target="../slideLayouts/slideLayout214.xml"/><Relationship Id="rId15" Type="http://schemas.openxmlformats.org/officeDocument/2006/relationships/slideLayout" Target="../slideLayouts/slideLayout215.xml"/><Relationship Id="rId16" Type="http://schemas.openxmlformats.org/officeDocument/2006/relationships/slideLayout" Target="../slideLayouts/slideLayout216.xml"/><Relationship Id="rId17" Type="http://schemas.openxmlformats.org/officeDocument/2006/relationships/slideLayout" Target="../slideLayouts/slideLayout217.xml"/><Relationship Id="rId18" Type="http://schemas.openxmlformats.org/officeDocument/2006/relationships/slideLayout" Target="../slideLayouts/slideLayout218.xml"/><Relationship Id="rId19" Type="http://schemas.openxmlformats.org/officeDocument/2006/relationships/slideLayout" Target="../slideLayouts/slideLayout219.xml"/></Relationships>
</file>

<file path=ppt/slideMasters/_rels/slideMaster8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54.xml"/><Relationship Id="rId21" Type="http://schemas.openxmlformats.org/officeDocument/2006/relationships/slideLayout" Target="../slideLayouts/slideLayout255.xml"/><Relationship Id="rId22" Type="http://schemas.openxmlformats.org/officeDocument/2006/relationships/slideLayout" Target="../slideLayouts/slideLayout256.xml"/><Relationship Id="rId23" Type="http://schemas.openxmlformats.org/officeDocument/2006/relationships/slideLayout" Target="../slideLayouts/slideLayout257.xml"/><Relationship Id="rId24" Type="http://schemas.openxmlformats.org/officeDocument/2006/relationships/slideLayout" Target="../slideLayouts/slideLayout258.xml"/><Relationship Id="rId25" Type="http://schemas.openxmlformats.org/officeDocument/2006/relationships/slideLayout" Target="../slideLayouts/slideLayout259.xml"/><Relationship Id="rId26" Type="http://schemas.openxmlformats.org/officeDocument/2006/relationships/slideLayout" Target="../slideLayouts/slideLayout260.xml"/><Relationship Id="rId27" Type="http://schemas.openxmlformats.org/officeDocument/2006/relationships/slideLayout" Target="../slideLayouts/slideLayout261.xml"/><Relationship Id="rId28" Type="http://schemas.openxmlformats.org/officeDocument/2006/relationships/slideLayout" Target="../slideLayouts/slideLayout262.xml"/><Relationship Id="rId29" Type="http://schemas.openxmlformats.org/officeDocument/2006/relationships/slideLayout" Target="../slideLayouts/slideLayout263.xml"/><Relationship Id="rId1" Type="http://schemas.openxmlformats.org/officeDocument/2006/relationships/slideLayout" Target="../slideLayouts/slideLayout235.xml"/><Relationship Id="rId2" Type="http://schemas.openxmlformats.org/officeDocument/2006/relationships/slideLayout" Target="../slideLayouts/slideLayout236.xml"/><Relationship Id="rId3" Type="http://schemas.openxmlformats.org/officeDocument/2006/relationships/slideLayout" Target="../slideLayouts/slideLayout237.xml"/><Relationship Id="rId4" Type="http://schemas.openxmlformats.org/officeDocument/2006/relationships/slideLayout" Target="../slideLayouts/slideLayout238.xml"/><Relationship Id="rId5" Type="http://schemas.openxmlformats.org/officeDocument/2006/relationships/slideLayout" Target="../slideLayouts/slideLayout239.xml"/><Relationship Id="rId30" Type="http://schemas.openxmlformats.org/officeDocument/2006/relationships/slideLayout" Target="../slideLayouts/slideLayout264.xml"/><Relationship Id="rId31" Type="http://schemas.openxmlformats.org/officeDocument/2006/relationships/slideLayout" Target="../slideLayouts/slideLayout265.xml"/><Relationship Id="rId32" Type="http://schemas.openxmlformats.org/officeDocument/2006/relationships/slideLayout" Target="../slideLayouts/slideLayout266.xml"/><Relationship Id="rId9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0.xml"/><Relationship Id="rId7" Type="http://schemas.openxmlformats.org/officeDocument/2006/relationships/slideLayout" Target="../slideLayouts/slideLayout241.xml"/><Relationship Id="rId8" Type="http://schemas.openxmlformats.org/officeDocument/2006/relationships/slideLayout" Target="../slideLayouts/slideLayout242.xml"/><Relationship Id="rId33" Type="http://schemas.openxmlformats.org/officeDocument/2006/relationships/slideLayout" Target="../slideLayouts/slideLayout267.xml"/><Relationship Id="rId34" Type="http://schemas.openxmlformats.org/officeDocument/2006/relationships/slideLayout" Target="../slideLayouts/slideLayout268.xml"/><Relationship Id="rId35" Type="http://schemas.openxmlformats.org/officeDocument/2006/relationships/theme" Target="../theme/theme8.xml"/><Relationship Id="rId10" Type="http://schemas.openxmlformats.org/officeDocument/2006/relationships/slideLayout" Target="../slideLayouts/slideLayout244.xml"/><Relationship Id="rId11" Type="http://schemas.openxmlformats.org/officeDocument/2006/relationships/slideLayout" Target="../slideLayouts/slideLayout245.xml"/><Relationship Id="rId12" Type="http://schemas.openxmlformats.org/officeDocument/2006/relationships/slideLayout" Target="../slideLayouts/slideLayout246.xml"/><Relationship Id="rId13" Type="http://schemas.openxmlformats.org/officeDocument/2006/relationships/slideLayout" Target="../slideLayouts/slideLayout247.xml"/><Relationship Id="rId14" Type="http://schemas.openxmlformats.org/officeDocument/2006/relationships/slideLayout" Target="../slideLayouts/slideLayout248.xml"/><Relationship Id="rId15" Type="http://schemas.openxmlformats.org/officeDocument/2006/relationships/slideLayout" Target="../slideLayouts/slideLayout249.xml"/><Relationship Id="rId16" Type="http://schemas.openxmlformats.org/officeDocument/2006/relationships/slideLayout" Target="../slideLayouts/slideLayout250.xml"/><Relationship Id="rId17" Type="http://schemas.openxmlformats.org/officeDocument/2006/relationships/slideLayout" Target="../slideLayouts/slideLayout251.xml"/><Relationship Id="rId18" Type="http://schemas.openxmlformats.org/officeDocument/2006/relationships/slideLayout" Target="../slideLayouts/slideLayout252.xml"/><Relationship Id="rId19" Type="http://schemas.openxmlformats.org/officeDocument/2006/relationships/slideLayout" Target="../slideLayouts/slideLayout253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1.xml"/><Relationship Id="rId4" Type="http://schemas.openxmlformats.org/officeDocument/2006/relationships/slideLayout" Target="../slideLayouts/slideLayout272.xml"/><Relationship Id="rId5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4.xml"/><Relationship Id="rId7" Type="http://schemas.openxmlformats.org/officeDocument/2006/relationships/theme" Target="../theme/theme9.xml"/><Relationship Id="rId8" Type="http://schemas.openxmlformats.org/officeDocument/2006/relationships/vmlDrawing" Target="../drawings/vmlDrawing1.vml"/><Relationship Id="rId9" Type="http://schemas.openxmlformats.org/officeDocument/2006/relationships/tags" Target="../tags/tag1.xml"/><Relationship Id="rId10" Type="http://schemas.openxmlformats.org/officeDocument/2006/relationships/oleObject" Target="../embeddings/oleObject1.bin"/><Relationship Id="rId11" Type="http://schemas.openxmlformats.org/officeDocument/2006/relationships/image" Target="../media/image17.emf"/><Relationship Id="rId1" Type="http://schemas.openxmlformats.org/officeDocument/2006/relationships/slideLayout" Target="../slideLayouts/slideLayout269.xml"/><Relationship Id="rId2" Type="http://schemas.openxmlformats.org/officeDocument/2006/relationships/slideLayout" Target="../slideLayouts/slideLayout2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 Same Side Corner Rectangle 16"/>
          <p:cNvSpPr/>
          <p:nvPr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9705" y="39161"/>
            <a:ext cx="8685697" cy="62865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9702" y="1004809"/>
            <a:ext cx="8685698" cy="37242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ltGray">
          <a:xfrm>
            <a:off x="251376" y="4931497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</a:p>
        </p:txBody>
      </p:sp>
      <p:sp>
        <p:nvSpPr>
          <p:cNvPr id="21" name="Rectangle 7"/>
          <p:cNvSpPr>
            <a:spLocks noChangeArrowheads="1"/>
          </p:cNvSpPr>
          <p:nvPr/>
        </p:nvSpPr>
        <p:spPr bwMode="ltGray">
          <a:xfrm>
            <a:off x="8640522" y="4927118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5668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lang="en-US" sz="3600" b="0" kern="1200" spc="0" baseline="0" dirty="0">
          <a:gradFill>
            <a:gsLst>
              <a:gs pos="0">
                <a:schemeClr val="tx1"/>
              </a:gs>
              <a:gs pos="44000">
                <a:srgbClr val="01BBBB"/>
              </a:gs>
              <a:gs pos="100000">
                <a:schemeClr val="accent4"/>
              </a:gs>
            </a:gsLst>
            <a:lin ang="4800000" scaled="0"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rgbClr val="546568"/>
          </a:solidFill>
          <a:latin typeface="+mj-lt"/>
          <a:ea typeface="+mn-ea"/>
          <a:cs typeface="+mn-cs"/>
        </a:defRPr>
      </a:lvl1pPr>
      <a:lvl2pPr marL="406400" indent="0" algn="l" defTabSz="914400" rtl="0" eaLnBrk="1" latinLnBrk="0" hangingPunct="1">
        <a:lnSpc>
          <a:spcPct val="95000"/>
        </a:lnSpc>
        <a:spcBef>
          <a:spcPts val="840"/>
        </a:spcBef>
        <a:buClr>
          <a:schemeClr val="tx2"/>
        </a:buClr>
        <a:buFontTx/>
        <a:buNone/>
        <a:defRPr lang="en-US" sz="1800" kern="1200" dirty="0" smtClean="0">
          <a:solidFill>
            <a:srgbClr val="546568"/>
          </a:solidFill>
          <a:latin typeface="+mj-lt"/>
          <a:ea typeface="+mn-ea"/>
          <a:cs typeface="+mn-cs"/>
        </a:defRPr>
      </a:lvl2pPr>
      <a:lvl3pPr marL="571500" indent="-1588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600" kern="1200" dirty="0" smtClean="0">
          <a:solidFill>
            <a:srgbClr val="546568"/>
          </a:solidFill>
          <a:latin typeface="+mj-lt"/>
          <a:ea typeface="+mn-ea"/>
          <a:cs typeface="+mn-cs"/>
        </a:defRPr>
      </a:lvl3pPr>
      <a:lvl4pPr marL="688975" indent="0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400" kern="1200" dirty="0" smtClean="0">
          <a:solidFill>
            <a:srgbClr val="546568"/>
          </a:solidFill>
          <a:latin typeface="+mj-lt"/>
          <a:ea typeface="+mn-ea"/>
          <a:cs typeface="+mn-cs"/>
        </a:defRPr>
      </a:lvl4pPr>
      <a:lvl5pPr marL="801688" indent="0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400" kern="1200" dirty="0">
          <a:solidFill>
            <a:srgbClr val="546568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260620" y="341158"/>
            <a:ext cx="8659368" cy="731520"/>
          </a:xfrm>
          <a:prstGeom prst="rect">
            <a:avLst/>
          </a:prstGeom>
        </p:spPr>
        <p:txBody>
          <a:bodyPr vert="horz" lIns="91160" tIns="45580" rIns="91160" bIns="4558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r>
              <a:rPr lang="en-US" sz="600" dirty="0">
                <a:solidFill>
                  <a:srgbClr val="231F20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388" tIns="30700" rIns="61388" bIns="30700" anchor="b">
            <a:spAutoFit/>
          </a:bodyPr>
          <a:lstStyle/>
          <a:p>
            <a:pPr algn="r" defTabSz="609062"/>
            <a:fld id="{DFCF27A5-1A5B-48D3-A060-2758FFBB1ADD}" type="slidenum">
              <a:rPr lang="en-US" sz="600">
                <a:solidFill>
                  <a:srgbClr val="231F20"/>
                </a:solidFill>
                <a:latin typeface="CiscoSansTT Light"/>
                <a:cs typeface="CiscoSans Thin"/>
              </a:rPr>
              <a:pPr algn="r" defTabSz="609062"/>
              <a:t>‹#›</a:t>
            </a:fld>
            <a:endParaRPr lang="en-US" sz="600" dirty="0">
              <a:solidFill>
                <a:srgbClr val="231F20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29211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388" tIns="30700" rIns="61388" bIns="30700" anchor="b" anchorCtr="0">
            <a:spAutoFit/>
          </a:bodyPr>
          <a:lstStyle/>
          <a:p>
            <a:pPr defTabSz="609062"/>
            <a:r>
              <a:rPr lang="en-US" sz="600" dirty="0" smtClean="0">
                <a:solidFill>
                  <a:srgbClr val="231F20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231F20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3149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  <p:sldLayoutId id="2147483962" r:id="rId12"/>
    <p:sldLayoutId id="2147483963" r:id="rId13"/>
    <p:sldLayoutId id="2147483964" r:id="rId14"/>
    <p:sldLayoutId id="2147483965" r:id="rId15"/>
    <p:sldLayoutId id="2147483966" r:id="rId16"/>
    <p:sldLayoutId id="2147483967" r:id="rId17"/>
    <p:sldLayoutId id="2147483968" r:id="rId18"/>
    <p:sldLayoutId id="2147483969" r:id="rId19"/>
    <p:sldLayoutId id="2147483970" r:id="rId20"/>
    <p:sldLayoutId id="2147483971" r:id="rId21"/>
    <p:sldLayoutId id="2147483972" r:id="rId22"/>
    <p:sldLayoutId id="2147483973" r:id="rId23"/>
    <p:sldLayoutId id="2147483974" r:id="rId24"/>
    <p:sldLayoutId id="2147483975" r:id="rId25"/>
    <p:sldLayoutId id="2147483976" r:id="rId26"/>
    <p:sldLayoutId id="2147483977" r:id="rId27"/>
    <p:sldLayoutId id="2147483978" r:id="rId28"/>
    <p:sldLayoutId id="2147483979" r:id="rId29"/>
    <p:sldLayoutId id="2147483980" r:id="rId30"/>
    <p:sldLayoutId id="2147483981" r:id="rId31"/>
    <p:sldLayoutId id="2147483982" r:id="rId32"/>
    <p:sldLayoutId id="2147483983" r:id="rId33"/>
    <p:sldLayoutId id="2147483984" r:id="rId34"/>
    <p:sldLayoutId id="2147483985" r:id="rId35"/>
    <p:sldLayoutId id="2147483986" r:id="rId36"/>
    <p:sldLayoutId id="2147483987" r:id="rId37"/>
    <p:sldLayoutId id="2147483988" r:id="rId38"/>
    <p:sldLayoutId id="2147483989" r:id="rId39"/>
    <p:sldLayoutId id="2147483990" r:id="rId40"/>
    <p:sldLayoutId id="2147483991" r:id="rId41"/>
    <p:sldLayoutId id="2147483992" r:id="rId42"/>
    <p:sldLayoutId id="2147483993" r:id="rId43"/>
    <p:sldLayoutId id="2147483994" r:id="rId44"/>
    <p:sldLayoutId id="2147483995" r:id="rId45"/>
    <p:sldLayoutId id="2147483996" r:id="rId46"/>
    <p:sldLayoutId id="2147483997" r:id="rId47"/>
    <p:sldLayoutId id="2147483998" r:id="rId48"/>
    <p:sldLayoutId id="2147483999" r:id="rId49"/>
    <p:sldLayoutId id="2147484000" r:id="rId50"/>
    <p:sldLayoutId id="2147484001" r:id="rId51"/>
    <p:sldLayoutId id="2147484002" r:id="rId52"/>
    <p:sldLayoutId id="2147484003" r:id="rId53"/>
    <p:sldLayoutId id="2147484004" r:id="rId54"/>
    <p:sldLayoutId id="2147484005" r:id="rId55"/>
    <p:sldLayoutId id="2147484006" r:id="rId56"/>
    <p:sldLayoutId id="2147484007" r:id="rId57"/>
    <p:sldLayoutId id="2147484008" r:id="rId58"/>
  </p:sldLayoutIdLst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683896" rtl="0" eaLnBrk="1" latinLnBrk="0" hangingPunct="1">
        <a:lnSpc>
          <a:spcPct val="80000"/>
        </a:lnSpc>
        <a:spcBef>
          <a:spcPct val="0"/>
        </a:spcBef>
        <a:buNone/>
        <a:defRPr lang="en-US" sz="2500" b="0" kern="1200" spc="0" baseline="0" dirty="0">
          <a:solidFill>
            <a:schemeClr val="accent4"/>
          </a:solidFill>
          <a:latin typeface="+mj-lt"/>
          <a:ea typeface="+mj-ea"/>
          <a:cs typeface="CiscoSans"/>
        </a:defRPr>
      </a:lvl1pPr>
    </p:titleStyle>
    <p:bodyStyle>
      <a:lvl1pPr marL="170983" indent="-170983" algn="l" defTabSz="683896" rtl="0" eaLnBrk="1" latinLnBrk="0" hangingPunct="1">
        <a:lnSpc>
          <a:spcPct val="95000"/>
        </a:lnSpc>
        <a:spcBef>
          <a:spcPts val="108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358950" indent="-215370" algn="l" defTabSz="683896" rtl="0" eaLnBrk="1" latinLnBrk="0" hangingPunct="1">
        <a:lnSpc>
          <a:spcPct val="95000"/>
        </a:lnSpc>
        <a:spcBef>
          <a:spcPts val="600"/>
        </a:spcBef>
        <a:buClr>
          <a:schemeClr val="tx2"/>
        </a:buClr>
        <a:buFont typeface="Arial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430740" indent="-170960" algn="l" defTabSz="683896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502530" indent="-170960" algn="l" defTabSz="683896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574320" indent="-170960" algn="l" defTabSz="683896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1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861480" indent="-170983" algn="l" defTabSz="683896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3270" indent="-170960" algn="l" defTabSz="683896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3621" indent="0" algn="l" defTabSz="683896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06544" indent="-170983" algn="l" defTabSz="68389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38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1912" algn="l" defTabSz="6838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3896" algn="l" defTabSz="6838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5841" algn="l" defTabSz="6838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7793" algn="l" defTabSz="6838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09701" algn="l" defTabSz="6838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1683" algn="l" defTabSz="6838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3621" algn="l" defTabSz="6838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5583" algn="l" defTabSz="6838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260620" y="341158"/>
            <a:ext cx="8659368" cy="731520"/>
          </a:xfrm>
          <a:prstGeom prst="rect">
            <a:avLst/>
          </a:prstGeom>
        </p:spPr>
        <p:txBody>
          <a:bodyPr vert="horz" lIns="91416" tIns="45708" rIns="91416" bIns="45708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7831153" y="4745991"/>
            <a:ext cx="744499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r>
              <a:rPr lang="en-US" sz="600" dirty="0">
                <a:solidFill>
                  <a:srgbClr val="231F20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8662975" y="4742913"/>
            <a:ext cx="218401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/>
            <a:fld id="{DFCF27A5-1A5B-48D3-A060-2758FFBB1ADD}" type="slidenum">
              <a:rPr lang="en-US" sz="600">
                <a:solidFill>
                  <a:srgbClr val="231F20"/>
                </a:solidFill>
                <a:latin typeface="CiscoSansTT Light"/>
                <a:cs typeface="CiscoSans Thin"/>
              </a:rPr>
              <a:pPr algn="r" defTabSz="610693"/>
              <a:t>‹#›</a:t>
            </a:fld>
            <a:endParaRPr lang="en-US" sz="600" dirty="0">
              <a:solidFill>
                <a:srgbClr val="231F20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292050" y="4747291"/>
            <a:ext cx="3420515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/>
            <a:r>
              <a:rPr lang="en-US" sz="600" dirty="0" smtClean="0">
                <a:solidFill>
                  <a:srgbClr val="231F20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600" dirty="0">
              <a:solidFill>
                <a:srgbClr val="231F20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784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  <p:sldLayoutId id="2147483712" r:id="rId26"/>
    <p:sldLayoutId id="2147483713" r:id="rId27"/>
    <p:sldLayoutId id="2147483714" r:id="rId28"/>
    <p:sldLayoutId id="2147483715" r:id="rId29"/>
    <p:sldLayoutId id="2147483716" r:id="rId30"/>
    <p:sldLayoutId id="2147483717" r:id="rId31"/>
    <p:sldLayoutId id="2147483718" r:id="rId32"/>
    <p:sldLayoutId id="2147483719" r:id="rId33"/>
    <p:sldLayoutId id="2147483720" r:id="rId34"/>
    <p:sldLayoutId id="2147483721" r:id="rId35"/>
    <p:sldLayoutId id="2147483722" r:id="rId36"/>
    <p:sldLayoutId id="2147483723" r:id="rId37"/>
    <p:sldLayoutId id="2147483724" r:id="rId38"/>
    <p:sldLayoutId id="2147483725" r:id="rId39"/>
    <p:sldLayoutId id="2147483726" r:id="rId40"/>
    <p:sldLayoutId id="2147483727" r:id="rId41"/>
    <p:sldLayoutId id="2147483728" r:id="rId42"/>
    <p:sldLayoutId id="2147483729" r:id="rId43"/>
    <p:sldLayoutId id="2147483730" r:id="rId44"/>
    <p:sldLayoutId id="2147483731" r:id="rId45"/>
    <p:sldLayoutId id="2147483732" r:id="rId46"/>
    <p:sldLayoutId id="2147483733" r:id="rId47"/>
    <p:sldLayoutId id="2147483734" r:id="rId48"/>
    <p:sldLayoutId id="2147483735" r:id="rId49"/>
    <p:sldLayoutId id="2147483736" r:id="rId50"/>
    <p:sldLayoutId id="2147483737" r:id="rId51"/>
    <p:sldLayoutId id="2147483738" r:id="rId52"/>
    <p:sldLayoutId id="2147483739" r:id="rId53"/>
    <p:sldLayoutId id="2147483740" r:id="rId54"/>
    <p:sldLayoutId id="2147483741" r:id="rId55"/>
    <p:sldLayoutId id="2147483742" r:id="rId56"/>
    <p:sldLayoutId id="2147483745" r:id="rId57"/>
  </p:sldLayoutIdLst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685720" rtl="0" eaLnBrk="1" latinLnBrk="0" hangingPunct="1">
        <a:lnSpc>
          <a:spcPct val="80000"/>
        </a:lnSpc>
        <a:spcBef>
          <a:spcPct val="0"/>
        </a:spcBef>
        <a:buNone/>
        <a:defRPr lang="en-US" sz="25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171431" indent="-171431" algn="l" defTabSz="685720" rtl="0" eaLnBrk="1" latinLnBrk="0" hangingPunct="1">
        <a:lnSpc>
          <a:spcPct val="95000"/>
        </a:lnSpc>
        <a:spcBef>
          <a:spcPts val="108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359910" indent="-215946" algn="l" defTabSz="685720" rtl="0" eaLnBrk="1" latinLnBrk="0" hangingPunct="1">
        <a:lnSpc>
          <a:spcPct val="95000"/>
        </a:lnSpc>
        <a:spcBef>
          <a:spcPts val="600"/>
        </a:spcBef>
        <a:buClr>
          <a:schemeClr val="tx2"/>
        </a:buClr>
        <a:buFont typeface="Arial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431892" indent="-171408" algn="l" defTabSz="685720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503874" indent="-171408" algn="l" defTabSz="685720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575856" indent="-171408" algn="l" defTabSz="685720" rtl="0" eaLnBrk="1" latinLnBrk="0" hangingPunct="1">
        <a:lnSpc>
          <a:spcPct val="95000"/>
        </a:lnSpc>
        <a:spcBef>
          <a:spcPts val="630"/>
        </a:spcBef>
        <a:buFont typeface="Arial"/>
        <a:buChar char="•"/>
        <a:defRPr lang="en-US" sz="11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863784" indent="-171431" algn="l" defTabSz="68572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766" indent="-171408" algn="l" defTabSz="68572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020" indent="0" algn="l" defTabSz="68572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10" indent="-171431" algn="l" defTabSz="68572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56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20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79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41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97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61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20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82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 Same Side Corner Rectangle 16"/>
          <p:cNvSpPr/>
          <p:nvPr/>
        </p:nvSpPr>
        <p:spPr>
          <a:xfrm rot="10800000" flipV="1">
            <a:off x="1" y="4939684"/>
            <a:ext cx="9144000" cy="20381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/>
              </a:gs>
              <a:gs pos="50000">
                <a:srgbClr val="01BBBB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72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9717" y="39161"/>
            <a:ext cx="8685697" cy="628650"/>
          </a:xfrm>
          <a:prstGeom prst="rect">
            <a:avLst/>
          </a:prstGeom>
        </p:spPr>
        <p:txBody>
          <a:bodyPr vert="horz" lIns="82278" tIns="45708" rIns="82278" bIns="45708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9702" y="1004809"/>
            <a:ext cx="8685698" cy="3724274"/>
          </a:xfrm>
          <a:prstGeom prst="rect">
            <a:avLst/>
          </a:prstGeom>
        </p:spPr>
        <p:txBody>
          <a:bodyPr vert="horz" lIns="91416" tIns="45708" rIns="91416" bIns="45708" rtlCol="0">
            <a:noAutofit/>
          </a:bodyPr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ltGray">
          <a:xfrm>
            <a:off x="251387" y="4931526"/>
            <a:ext cx="3420515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6" tIns="41049" rIns="82106" bIns="41049" anchor="b" anchorCtr="0">
            <a:spAutoFit/>
          </a:bodyPr>
          <a:lstStyle/>
          <a:p>
            <a:pPr defTabSz="814184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20" name="Rectangle 5"/>
          <p:cNvSpPr>
            <a:spLocks noChangeArrowheads="1"/>
          </p:cNvSpPr>
          <p:nvPr/>
        </p:nvSpPr>
        <p:spPr bwMode="ltGray">
          <a:xfrm>
            <a:off x="7789700" y="4930224"/>
            <a:ext cx="785952" cy="175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21" name="Rectangle 7"/>
          <p:cNvSpPr>
            <a:spLocks noChangeArrowheads="1"/>
          </p:cNvSpPr>
          <p:nvPr/>
        </p:nvSpPr>
        <p:spPr bwMode="ltGray">
          <a:xfrm>
            <a:off x="8640564" y="4927146"/>
            <a:ext cx="259854" cy="175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6" tIns="41049" rIns="82106" bIns="41049" anchor="b">
            <a:spAutoFit/>
          </a:bodyPr>
          <a:lstStyle/>
          <a:p>
            <a:pPr algn="r" defTabSz="814184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184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9899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  <p:sldLayoutId id="2147483761" r:id="rId15"/>
    <p:sldLayoutId id="2147483762" r:id="rId16"/>
    <p:sldLayoutId id="2147483763" r:id="rId17"/>
    <p:sldLayoutId id="2147483764" r:id="rId18"/>
    <p:sldLayoutId id="2147483765" r:id="rId19"/>
    <p:sldLayoutId id="2147483766" r:id="rId20"/>
    <p:sldLayoutId id="2147483767" r:id="rId21"/>
    <p:sldLayoutId id="2147483768" r:id="rId22"/>
    <p:sldLayoutId id="2147483769" r:id="rId23"/>
    <p:sldLayoutId id="2147483770" r:id="rId24"/>
    <p:sldLayoutId id="2147483771" r:id="rId25"/>
  </p:sldLayoutIdLst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172" rtl="0" eaLnBrk="1" latinLnBrk="0" hangingPunct="1">
        <a:lnSpc>
          <a:spcPct val="80000"/>
        </a:lnSpc>
        <a:spcBef>
          <a:spcPct val="0"/>
        </a:spcBef>
        <a:buNone/>
        <a:defRPr lang="en-US" sz="3600" b="0" kern="1200" spc="0" baseline="0" dirty="0">
          <a:gradFill>
            <a:gsLst>
              <a:gs pos="0">
                <a:schemeClr val="tx1"/>
              </a:gs>
              <a:gs pos="44000">
                <a:srgbClr val="01BBBB"/>
              </a:gs>
              <a:gs pos="100000">
                <a:schemeClr val="accent4"/>
              </a:gs>
            </a:gsLst>
            <a:lin ang="4800000" scaled="0"/>
          </a:gradFill>
          <a:latin typeface="+mj-lt"/>
          <a:ea typeface="+mj-ea"/>
          <a:cs typeface="+mj-cs"/>
        </a:defRPr>
      </a:lvl1pPr>
    </p:titleStyle>
    <p:bodyStyle>
      <a:lvl1pPr marL="228546" indent="-228546" algn="l" defTabSz="914172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rgbClr val="546568"/>
          </a:solidFill>
          <a:latin typeface="+mj-lt"/>
          <a:ea typeface="+mn-ea"/>
          <a:cs typeface="+mn-cs"/>
        </a:defRPr>
      </a:lvl1pPr>
      <a:lvl2pPr marL="406298" indent="0" algn="l" defTabSz="914172" rtl="0" eaLnBrk="1" latinLnBrk="0" hangingPunct="1">
        <a:lnSpc>
          <a:spcPct val="95000"/>
        </a:lnSpc>
        <a:spcBef>
          <a:spcPts val="840"/>
        </a:spcBef>
        <a:buClr>
          <a:schemeClr val="tx2"/>
        </a:buClr>
        <a:buFontTx/>
        <a:buNone/>
        <a:defRPr lang="en-US" sz="1800" kern="1200" dirty="0" smtClean="0">
          <a:solidFill>
            <a:srgbClr val="546568"/>
          </a:solidFill>
          <a:latin typeface="+mj-lt"/>
          <a:ea typeface="+mn-ea"/>
          <a:cs typeface="+mn-cs"/>
        </a:defRPr>
      </a:lvl2pPr>
      <a:lvl3pPr marL="571356" indent="-1588" algn="l" defTabSz="914172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600" kern="1200" dirty="0" smtClean="0">
          <a:solidFill>
            <a:srgbClr val="546568"/>
          </a:solidFill>
          <a:latin typeface="+mj-lt"/>
          <a:ea typeface="+mn-ea"/>
          <a:cs typeface="+mn-cs"/>
        </a:defRPr>
      </a:lvl3pPr>
      <a:lvl4pPr marL="688804" indent="0" algn="l" defTabSz="914172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400" kern="1200" dirty="0" smtClean="0">
          <a:solidFill>
            <a:srgbClr val="546568"/>
          </a:solidFill>
          <a:latin typeface="+mj-lt"/>
          <a:ea typeface="+mn-ea"/>
          <a:cs typeface="+mn-cs"/>
        </a:defRPr>
      </a:lvl4pPr>
      <a:lvl5pPr marL="801489" indent="0" algn="l" defTabSz="914172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400" kern="1200" dirty="0">
          <a:solidFill>
            <a:srgbClr val="546568"/>
          </a:solidFill>
          <a:latin typeface="+mj-lt"/>
          <a:ea typeface="+mn-ea"/>
          <a:cs typeface="+mn-cs"/>
        </a:defRPr>
      </a:lvl5pPr>
      <a:lvl6pPr marL="2513970" indent="-228546" algn="l" defTabSz="91417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6" indent="-228546" algn="l" defTabSz="91417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2" indent="-228546" algn="l" defTabSz="91417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8" indent="-228546" algn="l" defTabSz="91417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8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99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4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segue texture.jpg"/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3375" y="4786092"/>
            <a:ext cx="8477250" cy="12285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9701" y="324161"/>
            <a:ext cx="8580924" cy="628650"/>
          </a:xfrm>
          <a:prstGeom prst="rect">
            <a:avLst/>
          </a:prstGeom>
        </p:spPr>
        <p:txBody>
          <a:bodyPr vert="horz" lIns="61712" tIns="34286" rIns="61712" bIns="34286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9701" y="1004812"/>
            <a:ext cx="8580924" cy="3724274"/>
          </a:xfrm>
          <a:prstGeom prst="rect">
            <a:avLst/>
          </a:prstGeom>
        </p:spPr>
        <p:txBody>
          <a:bodyPr vert="horz" lIns="68571" tIns="34286" rIns="68571" bIns="34286" rtlCol="0">
            <a:noAutofit/>
          </a:bodyPr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65680" y="4932003"/>
            <a:ext cx="3420515" cy="139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3" tIns="30791" rIns="61583" bIns="30791" anchor="b" anchorCtr="0">
            <a:spAutoFit/>
          </a:bodyPr>
          <a:lstStyle/>
          <a:p>
            <a:pPr defTabSz="610719"/>
            <a:r>
              <a:rPr lang="en-US" sz="5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934510" y="4930701"/>
            <a:ext cx="641149" cy="139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9"/>
            <a:r>
              <a:rPr lang="en-US" sz="5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78636" y="4927623"/>
            <a:ext cx="202734" cy="1391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9"/>
            <a:fld id="{DFCF27A5-1A5B-48D3-A060-2758FFBB1ADD}" type="slidenum">
              <a:rPr lang="en-US" sz="500">
                <a:solidFill>
                  <a:srgbClr val="C0C0C0"/>
                </a:solidFill>
                <a:latin typeface="Arial"/>
              </a:rPr>
              <a:pPr algn="r" defTabSz="610719"/>
              <a:t>‹#›</a:t>
            </a:fld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6711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  <p:sldLayoutId id="2147483789" r:id="rId13"/>
    <p:sldLayoutId id="2147483790" r:id="rId14"/>
    <p:sldLayoutId id="2147483791" r:id="rId15"/>
    <p:sldLayoutId id="2147483792" r:id="rId16"/>
    <p:sldLayoutId id="2147483793" r:id="rId17"/>
    <p:sldLayoutId id="2147483794" r:id="rId18"/>
    <p:sldLayoutId id="2147483795" r:id="rId19"/>
    <p:sldLayoutId id="2147483796" r:id="rId20"/>
    <p:sldLayoutId id="2147483797" r:id="rId21"/>
    <p:sldLayoutId id="2147483798" r:id="rId22"/>
    <p:sldLayoutId id="2147483799" r:id="rId23"/>
    <p:sldLayoutId id="2147483800" r:id="rId24"/>
    <p:sldLayoutId id="2147483801" r:id="rId25"/>
    <p:sldLayoutId id="2147483802" r:id="rId26"/>
    <p:sldLayoutId id="2147483803" r:id="rId27"/>
    <p:sldLayoutId id="2147483804" r:id="rId28"/>
    <p:sldLayoutId id="2147483805" r:id="rId29"/>
    <p:sldLayoutId id="2147483806" r:id="rId30"/>
    <p:sldLayoutId id="2147483807" r:id="rId31"/>
  </p:sldLayoutIdLst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685720" rtl="0" eaLnBrk="1" latinLnBrk="0" hangingPunct="1">
        <a:lnSpc>
          <a:spcPct val="80000"/>
        </a:lnSpc>
        <a:spcBef>
          <a:spcPct val="0"/>
        </a:spcBef>
        <a:buNone/>
        <a:defRPr lang="en-US" sz="2700" b="0" kern="1200" spc="0" baseline="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</p:titleStyle>
    <p:bodyStyle>
      <a:lvl1pPr marL="171431" indent="-171431" algn="l" defTabSz="685720" rtl="0" eaLnBrk="1" latinLnBrk="0" hangingPunct="1">
        <a:lnSpc>
          <a:spcPct val="95000"/>
        </a:lnSpc>
        <a:spcBef>
          <a:spcPts val="1080"/>
        </a:spcBef>
        <a:buClr>
          <a:srgbClr val="96CA4B"/>
        </a:buClr>
        <a:buSzPct val="90000"/>
        <a:buFont typeface="Arial" pitchFamily="34" charset="0"/>
        <a:buChar char="•"/>
        <a:tabLst/>
        <a:defRPr lang="en-US" sz="1500" kern="1200" dirty="0" smtClean="0">
          <a:solidFill>
            <a:schemeClr val="bg1"/>
          </a:solidFill>
          <a:latin typeface="+mj-lt"/>
          <a:ea typeface="+mn-ea"/>
          <a:cs typeface="+mn-cs"/>
        </a:defRPr>
      </a:lvl1pPr>
      <a:lvl2pPr marL="304769" indent="0" algn="l" defTabSz="685720" rtl="0" eaLnBrk="1" latinLnBrk="0" hangingPunct="1">
        <a:lnSpc>
          <a:spcPct val="95000"/>
        </a:lnSpc>
        <a:spcBef>
          <a:spcPts val="630"/>
        </a:spcBef>
        <a:buClr>
          <a:schemeClr val="tx2"/>
        </a:buClr>
        <a:buFontTx/>
        <a:buNone/>
        <a:defRPr lang="en-US" sz="1400" kern="1200" dirty="0" smtClean="0">
          <a:solidFill>
            <a:schemeClr val="bg1"/>
          </a:solidFill>
          <a:latin typeface="+mj-lt"/>
          <a:ea typeface="+mn-ea"/>
          <a:cs typeface="+mn-cs"/>
        </a:defRPr>
      </a:lvl2pPr>
      <a:lvl3pPr marL="428574" indent="-1191" algn="l" defTabSz="685720" rtl="0" eaLnBrk="1" latinLnBrk="0" hangingPunct="1">
        <a:lnSpc>
          <a:spcPct val="95000"/>
        </a:lnSpc>
        <a:spcBef>
          <a:spcPts val="630"/>
        </a:spcBef>
        <a:buFont typeface="Arial" pitchFamily="34" charset="0"/>
        <a:buNone/>
        <a:defRPr lang="en-US" sz="1200" kern="1200" dirty="0" smtClean="0">
          <a:solidFill>
            <a:schemeClr val="bg1"/>
          </a:solidFill>
          <a:latin typeface="+mj-lt"/>
          <a:ea typeface="+mn-ea"/>
          <a:cs typeface="+mn-cs"/>
        </a:defRPr>
      </a:lvl3pPr>
      <a:lvl4pPr marL="516673" indent="0" algn="l" defTabSz="685720" rtl="0" eaLnBrk="1" latinLnBrk="0" hangingPunct="1">
        <a:lnSpc>
          <a:spcPct val="95000"/>
        </a:lnSpc>
        <a:spcBef>
          <a:spcPts val="630"/>
        </a:spcBef>
        <a:buFont typeface="Arial" pitchFamily="34" charset="0"/>
        <a:buNone/>
        <a:defRPr lang="en-US" sz="1100" kern="1200" dirty="0" smtClean="0">
          <a:solidFill>
            <a:schemeClr val="bg1"/>
          </a:solidFill>
          <a:latin typeface="+mj-lt"/>
          <a:ea typeface="+mn-ea"/>
          <a:cs typeface="+mn-cs"/>
        </a:defRPr>
      </a:lvl4pPr>
      <a:lvl5pPr marL="601196" indent="0" algn="l" defTabSz="685720" rtl="0" eaLnBrk="1" latinLnBrk="0" hangingPunct="1">
        <a:lnSpc>
          <a:spcPct val="95000"/>
        </a:lnSpc>
        <a:spcBef>
          <a:spcPts val="630"/>
        </a:spcBef>
        <a:buFont typeface="Arial" pitchFamily="34" charset="0"/>
        <a:buNone/>
        <a:defRPr lang="en-US" sz="11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1885733" indent="-171431" algn="l" defTabSz="68572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89" indent="-171431" algn="l" defTabSz="68572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51" indent="-171431" algn="l" defTabSz="68572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10" indent="-171431" algn="l" defTabSz="68572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56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20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79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41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97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61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20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82" algn="l" defTabSz="6857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segue texture.jpg"/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3375" y="4786092"/>
            <a:ext cx="8477250" cy="12285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9701" y="324161"/>
            <a:ext cx="8580924" cy="628650"/>
          </a:xfrm>
          <a:prstGeom prst="rect">
            <a:avLst/>
          </a:prstGeom>
        </p:spPr>
        <p:txBody>
          <a:bodyPr vert="horz" lIns="61715" tIns="34288" rIns="61715" bIns="34288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9701" y="1004812"/>
            <a:ext cx="8580924" cy="3724274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65679" y="4932001"/>
            <a:ext cx="3420515" cy="139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 anchorCtr="0">
            <a:spAutoFit/>
          </a:bodyPr>
          <a:lstStyle/>
          <a:p>
            <a:pPr defTabSz="610744"/>
            <a:r>
              <a:rPr lang="en-US" sz="5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934504" y="4930699"/>
            <a:ext cx="641155" cy="139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/>
            <a:r>
              <a:rPr lang="en-US" sz="5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78630" y="4927621"/>
            <a:ext cx="202740" cy="1391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/>
            <a:fld id="{DFCF27A5-1A5B-48D3-A060-2758FFBB1ADD}" type="slidenum">
              <a:rPr lang="en-US" sz="500">
                <a:solidFill>
                  <a:srgbClr val="C0C0C0"/>
                </a:solidFill>
                <a:latin typeface="Arial"/>
              </a:rPr>
              <a:pPr algn="r" defTabSz="610744"/>
              <a:t>‹#›</a:t>
            </a:fld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7088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  <p:sldLayoutId id="2147483827" r:id="rId18"/>
    <p:sldLayoutId id="2147483828" r:id="rId19"/>
    <p:sldLayoutId id="2147483829" r:id="rId20"/>
    <p:sldLayoutId id="2147483830" r:id="rId21"/>
    <p:sldLayoutId id="2147483831" r:id="rId22"/>
    <p:sldLayoutId id="2147483832" r:id="rId23"/>
    <p:sldLayoutId id="2147483833" r:id="rId24"/>
    <p:sldLayoutId id="2147483834" r:id="rId25"/>
    <p:sldLayoutId id="2147483835" r:id="rId26"/>
    <p:sldLayoutId id="2147483836" r:id="rId27"/>
    <p:sldLayoutId id="2147483837" r:id="rId28"/>
    <p:sldLayoutId id="2147483838" r:id="rId29"/>
    <p:sldLayoutId id="2147483839" r:id="rId30"/>
    <p:sldLayoutId id="2147483840" r:id="rId31"/>
  </p:sldLayoutIdLst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685748" rtl="0" eaLnBrk="1" latinLnBrk="0" hangingPunct="1">
        <a:lnSpc>
          <a:spcPct val="80000"/>
        </a:lnSpc>
        <a:spcBef>
          <a:spcPct val="0"/>
        </a:spcBef>
        <a:buNone/>
        <a:defRPr lang="en-US" sz="2700" b="0" kern="1200" spc="0" baseline="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</p:titleStyle>
    <p:bodyStyle>
      <a:lvl1pPr marL="171438" indent="-171438" algn="l" defTabSz="685748" rtl="0" eaLnBrk="1" latinLnBrk="0" hangingPunct="1">
        <a:lnSpc>
          <a:spcPct val="95000"/>
        </a:lnSpc>
        <a:spcBef>
          <a:spcPts val="1080"/>
        </a:spcBef>
        <a:buClr>
          <a:srgbClr val="96CA4B"/>
        </a:buClr>
        <a:buSzPct val="90000"/>
        <a:buFont typeface="Arial" pitchFamily="34" charset="0"/>
        <a:buChar char="•"/>
        <a:tabLst/>
        <a:defRPr lang="en-US" sz="1500" kern="1200" dirty="0" smtClean="0">
          <a:solidFill>
            <a:schemeClr val="bg1"/>
          </a:solidFill>
          <a:latin typeface="+mj-lt"/>
          <a:ea typeface="+mn-ea"/>
          <a:cs typeface="+mn-cs"/>
        </a:defRPr>
      </a:lvl1pPr>
      <a:lvl2pPr marL="304781" indent="0" algn="l" defTabSz="685748" rtl="0" eaLnBrk="1" latinLnBrk="0" hangingPunct="1">
        <a:lnSpc>
          <a:spcPct val="95000"/>
        </a:lnSpc>
        <a:spcBef>
          <a:spcPts val="630"/>
        </a:spcBef>
        <a:buClr>
          <a:schemeClr val="tx2"/>
        </a:buClr>
        <a:buFontTx/>
        <a:buNone/>
        <a:defRPr lang="en-US" sz="1400" kern="1200" dirty="0" smtClean="0">
          <a:solidFill>
            <a:schemeClr val="bg1"/>
          </a:solidFill>
          <a:latin typeface="+mj-lt"/>
          <a:ea typeface="+mn-ea"/>
          <a:cs typeface="+mn-cs"/>
        </a:defRPr>
      </a:lvl2pPr>
      <a:lvl3pPr marL="428592" indent="-1191" algn="l" defTabSz="685748" rtl="0" eaLnBrk="1" latinLnBrk="0" hangingPunct="1">
        <a:lnSpc>
          <a:spcPct val="95000"/>
        </a:lnSpc>
        <a:spcBef>
          <a:spcPts val="630"/>
        </a:spcBef>
        <a:buFont typeface="Arial" pitchFamily="34" charset="0"/>
        <a:buNone/>
        <a:defRPr lang="en-US" sz="1200" kern="1200" dirty="0" smtClean="0">
          <a:solidFill>
            <a:schemeClr val="bg1"/>
          </a:solidFill>
          <a:latin typeface="+mj-lt"/>
          <a:ea typeface="+mn-ea"/>
          <a:cs typeface="+mn-cs"/>
        </a:defRPr>
      </a:lvl3pPr>
      <a:lvl4pPr marL="516694" indent="0" algn="l" defTabSz="685748" rtl="0" eaLnBrk="1" latinLnBrk="0" hangingPunct="1">
        <a:lnSpc>
          <a:spcPct val="95000"/>
        </a:lnSpc>
        <a:spcBef>
          <a:spcPts val="630"/>
        </a:spcBef>
        <a:buFont typeface="Arial" pitchFamily="34" charset="0"/>
        <a:buNone/>
        <a:defRPr lang="en-US" sz="1100" kern="1200" dirty="0" smtClean="0">
          <a:solidFill>
            <a:schemeClr val="bg1"/>
          </a:solidFill>
          <a:latin typeface="+mj-lt"/>
          <a:ea typeface="+mn-ea"/>
          <a:cs typeface="+mn-cs"/>
        </a:defRPr>
      </a:lvl4pPr>
      <a:lvl5pPr marL="601221" indent="0" algn="l" defTabSz="685748" rtl="0" eaLnBrk="1" latinLnBrk="0" hangingPunct="1">
        <a:lnSpc>
          <a:spcPct val="95000"/>
        </a:lnSpc>
        <a:spcBef>
          <a:spcPts val="630"/>
        </a:spcBef>
        <a:buFont typeface="Arial" pitchFamily="34" charset="0"/>
        <a:buNone/>
        <a:defRPr lang="en-US" sz="11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1885811" indent="-171438" algn="l" defTabSz="68574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2" indent="-171438" algn="l" defTabSz="68574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2" indent="-171438" algn="l" defTabSz="68574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1" algn="l" defTabSz="6857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8" algn="l" defTabSz="6857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2" algn="l" defTabSz="6857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69" algn="l" defTabSz="6857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6" algn="l" defTabSz="6857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segue texture.jpg"/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3375" y="4786092"/>
            <a:ext cx="8477250" cy="12285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9701" y="324161"/>
            <a:ext cx="8580924" cy="628650"/>
          </a:xfrm>
          <a:prstGeom prst="rect">
            <a:avLst/>
          </a:prstGeom>
        </p:spPr>
        <p:txBody>
          <a:bodyPr vert="horz" lIns="61730" tIns="34295" rIns="61730" bIns="34295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9701" y="1004812"/>
            <a:ext cx="8580924" cy="3724274"/>
          </a:xfrm>
          <a:prstGeom prst="rect">
            <a:avLst/>
          </a:prstGeom>
        </p:spPr>
        <p:txBody>
          <a:bodyPr vert="horz" lIns="68589" tIns="34295" rIns="68589" bIns="34295" rtlCol="0">
            <a:noAutofit/>
          </a:bodyPr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65674" y="4931983"/>
            <a:ext cx="3420515" cy="13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601" tIns="30800" rIns="61601" bIns="30800" anchor="b" anchorCtr="0">
            <a:spAutoFit/>
          </a:bodyPr>
          <a:lstStyle/>
          <a:p>
            <a:pPr defTabSz="610872"/>
            <a:r>
              <a:rPr lang="en-US" sz="5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934465" y="4930683"/>
            <a:ext cx="641186" cy="13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601" tIns="30800" rIns="61601" bIns="30800" anchor="b">
            <a:spAutoFit/>
          </a:bodyPr>
          <a:lstStyle/>
          <a:p>
            <a:pPr algn="r" defTabSz="610872"/>
            <a:r>
              <a:rPr lang="en-US" sz="5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78606" y="4927605"/>
            <a:ext cx="202771" cy="139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601" tIns="30800" rIns="61601" bIns="30800" anchor="b">
            <a:spAutoFit/>
          </a:bodyPr>
          <a:lstStyle/>
          <a:p>
            <a:pPr algn="r" defTabSz="610872"/>
            <a:fld id="{DFCF27A5-1A5B-48D3-A060-2758FFBB1ADD}" type="slidenum">
              <a:rPr lang="en-US" sz="500">
                <a:solidFill>
                  <a:srgbClr val="C0C0C0"/>
                </a:solidFill>
                <a:latin typeface="Arial"/>
              </a:rPr>
              <a:pPr algn="r" defTabSz="610872"/>
              <a:t>‹#›</a:t>
            </a:fld>
            <a:endParaRPr lang="en-US" sz="5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6431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  <p:sldLayoutId id="2147483853" r:id="rId12"/>
    <p:sldLayoutId id="2147483854" r:id="rId13"/>
    <p:sldLayoutId id="2147483855" r:id="rId14"/>
    <p:sldLayoutId id="2147483856" r:id="rId15"/>
    <p:sldLayoutId id="2147483857" r:id="rId16"/>
    <p:sldLayoutId id="2147483858" r:id="rId17"/>
    <p:sldLayoutId id="2147483859" r:id="rId18"/>
    <p:sldLayoutId id="2147483860" r:id="rId19"/>
    <p:sldLayoutId id="2147483861" r:id="rId20"/>
    <p:sldLayoutId id="2147483862" r:id="rId21"/>
    <p:sldLayoutId id="2147483863" r:id="rId22"/>
    <p:sldLayoutId id="2147483864" r:id="rId23"/>
    <p:sldLayoutId id="2147483865" r:id="rId24"/>
    <p:sldLayoutId id="2147483866" r:id="rId25"/>
    <p:sldLayoutId id="2147483867" r:id="rId26"/>
    <p:sldLayoutId id="2147483868" r:id="rId27"/>
    <p:sldLayoutId id="2147483869" r:id="rId28"/>
    <p:sldLayoutId id="2147483870" r:id="rId29"/>
    <p:sldLayoutId id="2147483871" r:id="rId30"/>
    <p:sldLayoutId id="2147483872" r:id="rId31"/>
  </p:sldLayoutIdLst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685891" rtl="0" eaLnBrk="1" latinLnBrk="0" hangingPunct="1">
        <a:lnSpc>
          <a:spcPct val="80000"/>
        </a:lnSpc>
        <a:spcBef>
          <a:spcPct val="0"/>
        </a:spcBef>
        <a:buNone/>
        <a:defRPr lang="en-US" sz="2700" b="0" kern="1200" spc="0" baseline="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</p:titleStyle>
    <p:bodyStyle>
      <a:lvl1pPr marL="171473" indent="-171473" algn="l" defTabSz="685891" rtl="0" eaLnBrk="1" latinLnBrk="0" hangingPunct="1">
        <a:lnSpc>
          <a:spcPct val="95000"/>
        </a:lnSpc>
        <a:spcBef>
          <a:spcPts val="1080"/>
        </a:spcBef>
        <a:buClr>
          <a:srgbClr val="96CA4B"/>
        </a:buClr>
        <a:buSzPct val="90000"/>
        <a:buFont typeface="Arial" pitchFamily="34" charset="0"/>
        <a:buChar char="•"/>
        <a:tabLst/>
        <a:defRPr lang="en-US" sz="1500" kern="1200" dirty="0" smtClean="0">
          <a:solidFill>
            <a:schemeClr val="bg1"/>
          </a:solidFill>
          <a:latin typeface="+mj-lt"/>
          <a:ea typeface="+mn-ea"/>
          <a:cs typeface="+mn-cs"/>
        </a:defRPr>
      </a:lvl1pPr>
      <a:lvl2pPr marL="304841" indent="0" algn="l" defTabSz="685891" rtl="0" eaLnBrk="1" latinLnBrk="0" hangingPunct="1">
        <a:lnSpc>
          <a:spcPct val="95000"/>
        </a:lnSpc>
        <a:spcBef>
          <a:spcPts val="630"/>
        </a:spcBef>
        <a:buClr>
          <a:schemeClr val="tx2"/>
        </a:buClr>
        <a:buFontTx/>
        <a:buNone/>
        <a:defRPr lang="en-US" sz="1400" kern="1200" dirty="0" smtClean="0">
          <a:solidFill>
            <a:schemeClr val="bg1"/>
          </a:solidFill>
          <a:latin typeface="+mj-lt"/>
          <a:ea typeface="+mn-ea"/>
          <a:cs typeface="+mn-cs"/>
        </a:defRPr>
      </a:lvl2pPr>
      <a:lvl3pPr marL="428682" indent="-1191" algn="l" defTabSz="685891" rtl="0" eaLnBrk="1" latinLnBrk="0" hangingPunct="1">
        <a:lnSpc>
          <a:spcPct val="95000"/>
        </a:lnSpc>
        <a:spcBef>
          <a:spcPts val="630"/>
        </a:spcBef>
        <a:buFont typeface="Arial" pitchFamily="34" charset="0"/>
        <a:buNone/>
        <a:defRPr lang="en-US" sz="1200" kern="1200" dirty="0" smtClean="0">
          <a:solidFill>
            <a:schemeClr val="bg1"/>
          </a:solidFill>
          <a:latin typeface="+mj-lt"/>
          <a:ea typeface="+mn-ea"/>
          <a:cs typeface="+mn-cs"/>
        </a:defRPr>
      </a:lvl3pPr>
      <a:lvl4pPr marL="516800" indent="0" algn="l" defTabSz="685891" rtl="0" eaLnBrk="1" latinLnBrk="0" hangingPunct="1">
        <a:lnSpc>
          <a:spcPct val="95000"/>
        </a:lnSpc>
        <a:spcBef>
          <a:spcPts val="630"/>
        </a:spcBef>
        <a:buFont typeface="Arial" pitchFamily="34" charset="0"/>
        <a:buNone/>
        <a:defRPr lang="en-US" sz="1100" kern="1200" dirty="0" smtClean="0">
          <a:solidFill>
            <a:schemeClr val="bg1"/>
          </a:solidFill>
          <a:latin typeface="+mj-lt"/>
          <a:ea typeface="+mn-ea"/>
          <a:cs typeface="+mn-cs"/>
        </a:defRPr>
      </a:lvl4pPr>
      <a:lvl5pPr marL="601346" indent="0" algn="l" defTabSz="685891" rtl="0" eaLnBrk="1" latinLnBrk="0" hangingPunct="1">
        <a:lnSpc>
          <a:spcPct val="95000"/>
        </a:lnSpc>
        <a:spcBef>
          <a:spcPts val="630"/>
        </a:spcBef>
        <a:buFont typeface="Arial" pitchFamily="34" charset="0"/>
        <a:buNone/>
        <a:defRPr lang="en-US" sz="11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1886201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9711" y="324161"/>
            <a:ext cx="8588861" cy="62865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9710" y="1004809"/>
            <a:ext cx="8551441" cy="3724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1382" y="4895875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789670" y="4894574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50072" y="4891496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0226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  <p:sldLayoutId id="2147483886" r:id="rId13"/>
    <p:sldLayoutId id="2147483887" r:id="rId14"/>
    <p:sldLayoutId id="2147483888" r:id="rId15"/>
    <p:sldLayoutId id="2147483889" r:id="rId16"/>
    <p:sldLayoutId id="2147483890" r:id="rId17"/>
    <p:sldLayoutId id="2147483891" r:id="rId18"/>
    <p:sldLayoutId id="2147483892" r:id="rId19"/>
    <p:sldLayoutId id="2147483893" r:id="rId20"/>
    <p:sldLayoutId id="2147483894" r:id="rId21"/>
    <p:sldLayoutId id="2147483895" r:id="rId22"/>
    <p:sldLayoutId id="2147483896" r:id="rId23"/>
    <p:sldLayoutId id="2147483897" r:id="rId24"/>
    <p:sldLayoutId id="2147483898" r:id="rId25"/>
    <p:sldLayoutId id="2147483899" r:id="rId26"/>
    <p:sldLayoutId id="2147483900" r:id="rId27"/>
    <p:sldLayoutId id="2147483901" r:id="rId28"/>
    <p:sldLayoutId id="2147483902" r:id="rId29"/>
    <p:sldLayoutId id="2147483903" r:id="rId30"/>
    <p:sldLayoutId id="2147483904" r:id="rId31"/>
    <p:sldLayoutId id="2147483905" r:id="rId32"/>
    <p:sldLayoutId id="2147483906" r:id="rId33"/>
    <p:sldLayoutId id="2147483907" r:id="rId34"/>
  </p:sldLayoutIdLst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lang="en-US" sz="3600" b="0" kern="1200" spc="-100" baseline="0" dirty="0">
          <a:gradFill>
            <a:gsLst>
              <a:gs pos="0">
                <a:schemeClr val="tx1"/>
              </a:gs>
              <a:gs pos="44000">
                <a:srgbClr val="01BBBB"/>
              </a:gs>
              <a:gs pos="100000">
                <a:schemeClr val="accent4"/>
              </a:gs>
            </a:gsLst>
            <a:lin ang="4800000" scaled="0"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bg1"/>
          </a:solidFill>
          <a:latin typeface="+mj-lt"/>
          <a:ea typeface="+mn-ea"/>
          <a:cs typeface="+mn-cs"/>
        </a:defRPr>
      </a:lvl1pPr>
      <a:lvl2pPr marL="406400" indent="0" algn="l" defTabSz="914400" rtl="0" eaLnBrk="1" latinLnBrk="0" hangingPunct="1">
        <a:lnSpc>
          <a:spcPct val="95000"/>
        </a:lnSpc>
        <a:spcBef>
          <a:spcPts val="840"/>
        </a:spcBef>
        <a:buClr>
          <a:schemeClr val="tx2"/>
        </a:buClr>
        <a:buFontTx/>
        <a:buNone/>
        <a:defRPr lang="en-US" sz="1800" kern="1200" dirty="0" smtClean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600" kern="1200" dirty="0" smtClean="0">
          <a:solidFill>
            <a:schemeClr val="bg1"/>
          </a:solidFill>
          <a:latin typeface="+mj-lt"/>
          <a:ea typeface="+mn-ea"/>
          <a:cs typeface="+mn-cs"/>
        </a:defRPr>
      </a:lvl3pPr>
      <a:lvl4pPr marL="688975" indent="0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400" kern="1200" dirty="0" smtClean="0">
          <a:solidFill>
            <a:schemeClr val="bg1"/>
          </a:solidFill>
          <a:latin typeface="+mj-lt"/>
          <a:ea typeface="+mn-ea"/>
          <a:cs typeface="+mn-cs"/>
        </a:defRPr>
      </a:lvl4pPr>
      <a:lvl5pPr marL="801688" indent="0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9703" y="324161"/>
            <a:ext cx="8588861" cy="62865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9702" y="1004809"/>
            <a:ext cx="8551441" cy="3724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1374" y="4895871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defTabSz="814388"/>
            <a:r>
              <a:rPr lang="en-US" sz="600" dirty="0" smtClean="0">
                <a:solidFill>
                  <a:srgbClr val="C0C0C0"/>
                </a:solidFill>
                <a:latin typeface="Arial"/>
              </a:rPr>
              <a:t>© 2010 Cisco and/or its affiliates. All rights reserved.</a:t>
            </a:r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789662" y="4894570"/>
            <a:ext cx="78598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r>
              <a:rPr lang="en-US" sz="600" dirty="0">
                <a:solidFill>
                  <a:srgbClr val="C0C0C0"/>
                </a:solidFill>
                <a:latin typeface="Arial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50064" y="4891492"/>
            <a:ext cx="259891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/>
            <a:fld id="{DFCF27A5-1A5B-48D3-A060-2758FFBB1ADD}" type="slidenum">
              <a:rPr lang="en-US" sz="600">
                <a:solidFill>
                  <a:srgbClr val="C0C0C0"/>
                </a:solidFill>
                <a:latin typeface="Arial"/>
              </a:rPr>
              <a:pPr algn="r" defTabSz="814388"/>
              <a:t>‹#›</a:t>
            </a:fld>
            <a:endParaRPr lang="en-US" sz="6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0996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  <p:sldLayoutId id="2147483921" r:id="rId13"/>
    <p:sldLayoutId id="2147483922" r:id="rId14"/>
    <p:sldLayoutId id="2147483923" r:id="rId15"/>
    <p:sldLayoutId id="2147483924" r:id="rId16"/>
    <p:sldLayoutId id="2147483925" r:id="rId17"/>
    <p:sldLayoutId id="2147483926" r:id="rId18"/>
    <p:sldLayoutId id="2147483927" r:id="rId19"/>
    <p:sldLayoutId id="2147483928" r:id="rId20"/>
    <p:sldLayoutId id="2147483929" r:id="rId21"/>
    <p:sldLayoutId id="2147483930" r:id="rId22"/>
    <p:sldLayoutId id="2147483931" r:id="rId23"/>
    <p:sldLayoutId id="2147483932" r:id="rId24"/>
    <p:sldLayoutId id="2147483933" r:id="rId25"/>
    <p:sldLayoutId id="2147483934" r:id="rId26"/>
    <p:sldLayoutId id="2147483935" r:id="rId27"/>
    <p:sldLayoutId id="2147483936" r:id="rId28"/>
    <p:sldLayoutId id="2147483937" r:id="rId29"/>
    <p:sldLayoutId id="2147483938" r:id="rId30"/>
    <p:sldLayoutId id="2147483939" r:id="rId31"/>
    <p:sldLayoutId id="2147483940" r:id="rId32"/>
    <p:sldLayoutId id="2147483941" r:id="rId33"/>
    <p:sldLayoutId id="2147483942" r:id="rId34"/>
  </p:sldLayoutIdLst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lang="en-US" sz="3600" b="0" kern="1200" spc="-100" baseline="0" dirty="0">
          <a:gradFill>
            <a:gsLst>
              <a:gs pos="0">
                <a:schemeClr val="tx1"/>
              </a:gs>
              <a:gs pos="44000">
                <a:srgbClr val="01BBBB"/>
              </a:gs>
              <a:gs pos="100000">
                <a:schemeClr val="accent4"/>
              </a:gs>
            </a:gsLst>
            <a:lin ang="4800000" scaled="0"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bg1"/>
          </a:solidFill>
          <a:latin typeface="+mj-lt"/>
          <a:ea typeface="+mn-ea"/>
          <a:cs typeface="+mn-cs"/>
        </a:defRPr>
      </a:lvl1pPr>
      <a:lvl2pPr marL="406400" indent="0" algn="l" defTabSz="914400" rtl="0" eaLnBrk="1" latinLnBrk="0" hangingPunct="1">
        <a:lnSpc>
          <a:spcPct val="95000"/>
        </a:lnSpc>
        <a:spcBef>
          <a:spcPts val="840"/>
        </a:spcBef>
        <a:buClr>
          <a:schemeClr val="tx2"/>
        </a:buClr>
        <a:buFontTx/>
        <a:buNone/>
        <a:defRPr lang="en-US" sz="1800" kern="1200" dirty="0" smtClean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600" kern="1200" dirty="0" smtClean="0">
          <a:solidFill>
            <a:schemeClr val="bg1"/>
          </a:solidFill>
          <a:latin typeface="+mj-lt"/>
          <a:ea typeface="+mn-ea"/>
          <a:cs typeface="+mn-cs"/>
        </a:defRPr>
      </a:lvl3pPr>
      <a:lvl4pPr marL="688975" indent="0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400" kern="1200" dirty="0" smtClean="0">
          <a:solidFill>
            <a:schemeClr val="bg1"/>
          </a:solidFill>
          <a:latin typeface="+mj-lt"/>
          <a:ea typeface="+mn-ea"/>
          <a:cs typeface="+mn-cs"/>
        </a:defRPr>
      </a:lvl4pPr>
      <a:lvl5pPr marL="801688" indent="0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12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5"/>
          <p:cNvSpPr>
            <a:spLocks noChangeArrowheads="1"/>
          </p:cNvSpPr>
          <p:nvPr/>
        </p:nvSpPr>
        <p:spPr bwMode="ltGray">
          <a:xfrm>
            <a:off x="7856368" y="4769577"/>
            <a:ext cx="624747" cy="130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3461" tIns="26730" rIns="53461" bIns="26730" anchor="b">
            <a:spAutoFit/>
          </a:bodyPr>
          <a:lstStyle/>
          <a:p>
            <a:pPr algn="r" defTabSz="530153"/>
            <a:r>
              <a:rPr lang="en-US" sz="500" dirty="0">
                <a:solidFill>
                  <a:srgbClr val="231F20"/>
                </a:solidFill>
                <a:latin typeface="CiscoSansTT Light"/>
                <a:cs typeface="CiscoSans Thin"/>
              </a:rPr>
              <a:t>Cisco Confidential</a:t>
            </a: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ltGray">
          <a:xfrm>
            <a:off x="435357" y="4770877"/>
            <a:ext cx="3257095" cy="130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26730" rIns="53461" bIns="26730" anchor="b" anchorCtr="0">
            <a:spAutoFit/>
          </a:bodyPr>
          <a:lstStyle/>
          <a:p>
            <a:pPr defTabSz="530153"/>
            <a:r>
              <a:rPr lang="en-US" sz="500" dirty="0" smtClean="0">
                <a:solidFill>
                  <a:srgbClr val="231F20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500" dirty="0">
              <a:solidFill>
                <a:srgbClr val="231F20"/>
              </a:solidFill>
              <a:latin typeface="CiscoSansTT Light"/>
              <a:cs typeface="CiscoSans Thin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0" y="5086753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5356" y="162444"/>
            <a:ext cx="8275203" cy="623700"/>
          </a:xfrm>
          <a:prstGeom prst="rect">
            <a:avLst/>
          </a:prstGeom>
        </p:spPr>
        <p:txBody>
          <a:bodyPr vert="horz" lIns="0" tIns="39680" rIns="0" bIns="3968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5356" y="1131300"/>
            <a:ext cx="8275203" cy="3461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Simple"/>
          <p:cNvSpPr/>
          <p:nvPr/>
        </p:nvSpPr>
        <p:spPr>
          <a:xfrm>
            <a:off x="435356" y="5024700"/>
            <a:ext cx="613613" cy="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defTabSz="793608"/>
            <a:r>
              <a:rPr lang="en-US" sz="600" smtClean="0">
                <a:solidFill>
                  <a:srgbClr val="FFFFFF"/>
                </a:solidFill>
                <a:latin typeface="CiscoSansTT Light"/>
              </a:rPr>
              <a:t>Champion Forum_2014-07-21_v03.pptx</a:t>
            </a:r>
            <a:endParaRPr lang="en-US" sz="600" dirty="0">
              <a:solidFill>
                <a:srgbClr val="FFFFFF"/>
              </a:solidFill>
              <a:latin typeface="CiscoSansTT Ligh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14395" y="4807923"/>
            <a:ext cx="199592" cy="9525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 defTabSz="793608">
              <a:defRPr/>
            </a:pPr>
            <a:fld id="{8FDC6993-5875-43F1-AB5B-56FAFD3221C9}" type="slidenum">
              <a:rPr lang="en-US" sz="500" smtClean="0">
                <a:solidFill>
                  <a:srgbClr val="231F20"/>
                </a:solidFill>
                <a:latin typeface="CiscoSansTT Light"/>
              </a:rPr>
              <a:pPr algn="r" defTabSz="793608">
                <a:defRPr/>
              </a:pPr>
              <a:t>‹#›</a:t>
            </a:fld>
            <a:endParaRPr lang="en-US" sz="500" dirty="0" smtClean="0">
              <a:solidFill>
                <a:srgbClr val="231F20"/>
              </a:solidFill>
              <a:latin typeface="CiscoSansTT Light"/>
            </a:endParaRPr>
          </a:p>
        </p:txBody>
      </p:sp>
    </p:spTree>
    <p:extLst>
      <p:ext uri="{BB962C8B-B14F-4D97-AF65-F5344CB8AC3E}">
        <p14:creationId xmlns:p14="http://schemas.microsoft.com/office/powerpoint/2010/main" val="580794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</p:sldLayoutIdLst>
  <p:hf hdr="0" ftr="0" dt="0"/>
  <p:txStyles>
    <p:titleStyle>
      <a:lvl1pPr algn="l" defTabSz="793608" rtl="0" eaLnBrk="1" latinLnBrk="0" hangingPunct="1">
        <a:spcBef>
          <a:spcPct val="0"/>
        </a:spcBef>
        <a:buNone/>
        <a:defRPr sz="22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793608" rtl="0" eaLnBrk="1" latinLnBrk="0" hangingPunct="1">
        <a:spcBef>
          <a:spcPct val="20000"/>
        </a:spcBef>
        <a:buClr>
          <a:schemeClr val="tx2"/>
        </a:buClr>
        <a:buFontTx/>
        <a:buNone/>
        <a:defRPr sz="17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96804" indent="-198402" algn="l" defTabSz="793608" rtl="0" eaLnBrk="1" latinLnBrk="0" hangingPunct="1">
        <a:spcBef>
          <a:spcPct val="20000"/>
        </a:spcBef>
        <a:buClrTx/>
        <a:buFont typeface="Wingdings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793608" indent="-198402" algn="l" defTabSz="793608" rtl="0" eaLnBrk="1" latinLnBrk="0" hangingPunct="1">
        <a:spcBef>
          <a:spcPct val="20000"/>
        </a:spcBef>
        <a:buClrTx/>
        <a:buFont typeface="Wingdings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194545" indent="-202535" algn="l" defTabSz="793608" rtl="0" eaLnBrk="1" latinLnBrk="0" hangingPunct="1">
        <a:spcBef>
          <a:spcPct val="20000"/>
        </a:spcBef>
        <a:buClrTx/>
        <a:buFont typeface="Wingdings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86996" indent="-199780" algn="l" defTabSz="793608" rtl="0" eaLnBrk="1" latinLnBrk="0" hangingPunct="1">
        <a:spcBef>
          <a:spcPct val="20000"/>
        </a:spcBef>
        <a:buClrTx/>
        <a:buFont typeface="Wingdings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82421" indent="-198402" algn="l" defTabSz="793608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9225" indent="-198402" algn="l" defTabSz="793608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76029" indent="-198402" algn="l" defTabSz="793608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72833" indent="-198402" algn="l" defTabSz="793608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936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6804" algn="l" defTabSz="7936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93608" algn="l" defTabSz="7936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90412" algn="l" defTabSz="7936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7216" algn="l" defTabSz="7936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84019" algn="l" defTabSz="7936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80823" algn="l" defTabSz="7936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77627" algn="l" defTabSz="7936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74431" algn="l" defTabSz="7936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4" Type="http://schemas.openxmlformats.org/officeDocument/2006/relationships/image" Target="../media/image30.png"/><Relationship Id="rId5" Type="http://schemas.openxmlformats.org/officeDocument/2006/relationships/image" Target="../media/image31.png"/><Relationship Id="rId6" Type="http://schemas.openxmlformats.org/officeDocument/2006/relationships/image" Target="../media/image32.png"/><Relationship Id="rId1" Type="http://schemas.openxmlformats.org/officeDocument/2006/relationships/slideLayout" Target="../slideLayouts/slideLayout36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4" Type="http://schemas.openxmlformats.org/officeDocument/2006/relationships/image" Target="../media/image35.emf"/><Relationship Id="rId1" Type="http://schemas.openxmlformats.org/officeDocument/2006/relationships/slideLayout" Target="../slideLayouts/slideLayout41.xml"/><Relationship Id="rId2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0.xml"/><Relationship Id="rId4" Type="http://schemas.openxmlformats.org/officeDocument/2006/relationships/notesSlide" Target="../notesSlides/notesSlide16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37.emf"/><Relationship Id="rId7" Type="http://schemas.openxmlformats.org/officeDocument/2006/relationships/image" Target="../media/image38.png"/><Relationship Id="rId1" Type="http://schemas.openxmlformats.org/officeDocument/2006/relationships/vmlDrawing" Target="../drawings/vmlDrawing4.vml"/><Relationship Id="rId2" Type="http://schemas.openxmlformats.org/officeDocument/2006/relationships/tags" Target="../tags/tag1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4" Type="http://schemas.openxmlformats.org/officeDocument/2006/relationships/image" Target="../media/image40.png"/><Relationship Id="rId5" Type="http://schemas.openxmlformats.org/officeDocument/2006/relationships/image" Target="../media/image41.jpe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4" Type="http://schemas.openxmlformats.org/officeDocument/2006/relationships/image" Target="../media/image43.emf"/><Relationship Id="rId1" Type="http://schemas.openxmlformats.org/officeDocument/2006/relationships/slideLayout" Target="../slideLayouts/slideLayout270.xml"/><Relationship Id="rId2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diagramData" Target="../diagrams/data1.xml"/><Relationship Id="rId5" Type="http://schemas.openxmlformats.org/officeDocument/2006/relationships/diagramLayout" Target="../diagrams/layout1.xml"/><Relationship Id="rId6" Type="http://schemas.openxmlformats.org/officeDocument/2006/relationships/diagramQuickStyle" Target="../diagrams/quickStyle1.xml"/><Relationship Id="rId7" Type="http://schemas.openxmlformats.org/officeDocument/2006/relationships/diagramColors" Target="../diagrams/colors1.xml"/><Relationship Id="rId8" Type="http://schemas.microsoft.com/office/2007/relationships/diagramDrawing" Target="../diagrams/drawing1.xml"/><Relationship Id="rId9" Type="http://schemas.openxmlformats.org/officeDocument/2006/relationships/image" Target="../media/image21.png"/><Relationship Id="rId1" Type="http://schemas.openxmlformats.org/officeDocument/2006/relationships/slideLayout" Target="../slideLayouts/slideLayout36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4" Type="http://schemas.openxmlformats.org/officeDocument/2006/relationships/image" Target="../media/image45.png"/><Relationship Id="rId1" Type="http://schemas.openxmlformats.org/officeDocument/2006/relationships/slideLayout" Target="../slideLayouts/slideLayout36.xml"/><Relationship Id="rId2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4" Type="http://schemas.openxmlformats.org/officeDocument/2006/relationships/image" Target="../media/image47.png"/><Relationship Id="rId5" Type="http://schemas.openxmlformats.org/officeDocument/2006/relationships/image" Target="../media/image48.png"/><Relationship Id="rId6" Type="http://schemas.openxmlformats.org/officeDocument/2006/relationships/image" Target="../media/image49.png"/><Relationship Id="rId7" Type="http://schemas.openxmlformats.org/officeDocument/2006/relationships/image" Target="../media/image50.png"/><Relationship Id="rId8" Type="http://schemas.openxmlformats.org/officeDocument/2006/relationships/image" Target="../media/image51.png"/><Relationship Id="rId9" Type="http://schemas.openxmlformats.org/officeDocument/2006/relationships/image" Target="../media/image52.png"/><Relationship Id="rId1" Type="http://schemas.openxmlformats.org/officeDocument/2006/relationships/slideLayout" Target="../slideLayouts/slideLayout31.xml"/><Relationship Id="rId2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4" Type="http://schemas.openxmlformats.org/officeDocument/2006/relationships/image" Target="../media/image54.png"/><Relationship Id="rId5" Type="http://schemas.openxmlformats.org/officeDocument/2006/relationships/image" Target="../media/image55.png"/><Relationship Id="rId6" Type="http://schemas.openxmlformats.org/officeDocument/2006/relationships/image" Target="../media/image56.png"/><Relationship Id="rId7" Type="http://schemas.openxmlformats.org/officeDocument/2006/relationships/image" Target="../media/image57.png"/><Relationship Id="rId8" Type="http://schemas.openxmlformats.org/officeDocument/2006/relationships/image" Target="../media/image58.png"/><Relationship Id="rId9" Type="http://schemas.openxmlformats.org/officeDocument/2006/relationships/image" Target="../media/image52.png"/><Relationship Id="rId1" Type="http://schemas.openxmlformats.org/officeDocument/2006/relationships/slideLayout" Target="../slideLayouts/slideLayout31.xml"/><Relationship Id="rId2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4" Type="http://schemas.openxmlformats.org/officeDocument/2006/relationships/image" Target="../media/image60.png"/><Relationship Id="rId5" Type="http://schemas.openxmlformats.org/officeDocument/2006/relationships/image" Target="../media/image61.png"/><Relationship Id="rId6" Type="http://schemas.openxmlformats.org/officeDocument/2006/relationships/image" Target="../media/image49.png"/><Relationship Id="rId7" Type="http://schemas.openxmlformats.org/officeDocument/2006/relationships/image" Target="../media/image62.png"/><Relationship Id="rId8" Type="http://schemas.openxmlformats.org/officeDocument/2006/relationships/image" Target="../media/image63.png"/><Relationship Id="rId1" Type="http://schemas.openxmlformats.org/officeDocument/2006/relationships/slideLayout" Target="../slideLayouts/slideLayout31.xml"/><Relationship Id="rId2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4" Type="http://schemas.openxmlformats.org/officeDocument/2006/relationships/image" Target="../media/image65.png"/><Relationship Id="rId5" Type="http://schemas.openxmlformats.org/officeDocument/2006/relationships/image" Target="../media/image66.png"/><Relationship Id="rId1" Type="http://schemas.openxmlformats.org/officeDocument/2006/relationships/slideLayout" Target="../slideLayouts/slideLayout290.xml"/><Relationship Id="rId2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0.xml"/><Relationship Id="rId2" Type="http://schemas.openxmlformats.org/officeDocument/2006/relationships/notesSlide" Target="../notesSlides/notesSlide26.xml"/><Relationship Id="rId3" Type="http://schemas.openxmlformats.org/officeDocument/2006/relationships/image" Target="../media/image6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4" Type="http://schemas.openxmlformats.org/officeDocument/2006/relationships/image" Target="../media/image69.jpeg"/><Relationship Id="rId5" Type="http://schemas.openxmlformats.org/officeDocument/2006/relationships/image" Target="../media/image70.jpeg"/><Relationship Id="rId6" Type="http://schemas.openxmlformats.org/officeDocument/2006/relationships/image" Target="../media/image71.png"/><Relationship Id="rId1" Type="http://schemas.openxmlformats.org/officeDocument/2006/relationships/slideLayout" Target="../slideLayouts/slideLayout328.xml"/><Relationship Id="rId2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72.png"/><Relationship Id="rId5" Type="http://schemas.openxmlformats.org/officeDocument/2006/relationships/hyperlink" Target="mailto:raravich@cisco.com" TargetMode="External"/><Relationship Id="rId1" Type="http://schemas.openxmlformats.org/officeDocument/2006/relationships/slideLayout" Target="../slideLayouts/slideLayout307.xml"/><Relationship Id="rId2" Type="http://schemas.openxmlformats.org/officeDocument/2006/relationships/notesSlide" Target="../notesSlides/notesSlide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tags" Target="../tags/tag11.xml"/><Relationship Id="rId9" Type="http://schemas.openxmlformats.org/officeDocument/2006/relationships/slideLayout" Target="../slideLayouts/slideLayout36.xml"/><Relationship Id="rId10" Type="http://schemas.openxmlformats.org/officeDocument/2006/relationships/notesSlide" Target="../notesSlides/notesSlide6.xml"/><Relationship Id="rId11" Type="http://schemas.openxmlformats.org/officeDocument/2006/relationships/chart" Target="../charts/chart1.xml"/><Relationship Id="rId1" Type="http://schemas.openxmlformats.org/officeDocument/2006/relationships/tags" Target="../tags/tag4.xml"/><Relationship Id="rId2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4.png"/><Relationship Id="rId5" Type="http://schemas.openxmlformats.org/officeDocument/2006/relationships/image" Target="../media/image25.png"/><Relationship Id="rId6" Type="http://schemas.openxmlformats.org/officeDocument/2006/relationships/image" Target="../media/image26.png"/><Relationship Id="rId7" Type="http://schemas.openxmlformats.org/officeDocument/2006/relationships/image" Target="../media/image27.png"/><Relationship Id="rId1" Type="http://schemas.openxmlformats.org/officeDocument/2006/relationships/slideLayout" Target="../slideLayouts/slideLayout36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01" Type="http://schemas.openxmlformats.org/officeDocument/2006/relationships/tags" Target="../tags/tag112.xml"/><Relationship Id="rId102" Type="http://schemas.openxmlformats.org/officeDocument/2006/relationships/tags" Target="../tags/tag113.xml"/><Relationship Id="rId103" Type="http://schemas.openxmlformats.org/officeDocument/2006/relationships/tags" Target="../tags/tag114.xml"/><Relationship Id="rId104" Type="http://schemas.openxmlformats.org/officeDocument/2006/relationships/tags" Target="../tags/tag115.xml"/><Relationship Id="rId105" Type="http://schemas.openxmlformats.org/officeDocument/2006/relationships/tags" Target="../tags/tag116.xml"/><Relationship Id="rId106" Type="http://schemas.openxmlformats.org/officeDocument/2006/relationships/tags" Target="../tags/tag117.xml"/><Relationship Id="rId107" Type="http://schemas.openxmlformats.org/officeDocument/2006/relationships/tags" Target="../tags/tag118.xml"/><Relationship Id="rId1" Type="http://schemas.openxmlformats.org/officeDocument/2006/relationships/tags" Target="../tags/tag12.xml"/><Relationship Id="rId2" Type="http://schemas.openxmlformats.org/officeDocument/2006/relationships/tags" Target="../tags/tag13.xml"/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tags" Target="../tags/tag17.xml"/><Relationship Id="rId7" Type="http://schemas.openxmlformats.org/officeDocument/2006/relationships/tags" Target="../tags/tag18.xml"/><Relationship Id="rId8" Type="http://schemas.openxmlformats.org/officeDocument/2006/relationships/tags" Target="../tags/tag19.xml"/><Relationship Id="rId9" Type="http://schemas.openxmlformats.org/officeDocument/2006/relationships/tags" Target="../tags/tag20.xml"/><Relationship Id="rId108" Type="http://schemas.openxmlformats.org/officeDocument/2006/relationships/tags" Target="../tags/tag119.xml"/><Relationship Id="rId109" Type="http://schemas.openxmlformats.org/officeDocument/2006/relationships/slideLayout" Target="../slideLayouts/slideLayout36.xml"/><Relationship Id="rId10" Type="http://schemas.openxmlformats.org/officeDocument/2006/relationships/tags" Target="../tags/tag21.xml"/><Relationship Id="rId11" Type="http://schemas.openxmlformats.org/officeDocument/2006/relationships/tags" Target="../tags/tag22.xml"/><Relationship Id="rId12" Type="http://schemas.openxmlformats.org/officeDocument/2006/relationships/tags" Target="../tags/tag23.xml"/><Relationship Id="rId13" Type="http://schemas.openxmlformats.org/officeDocument/2006/relationships/tags" Target="../tags/tag24.xml"/><Relationship Id="rId14" Type="http://schemas.openxmlformats.org/officeDocument/2006/relationships/tags" Target="../tags/tag25.xml"/><Relationship Id="rId15" Type="http://schemas.openxmlformats.org/officeDocument/2006/relationships/tags" Target="../tags/tag26.xml"/><Relationship Id="rId16" Type="http://schemas.openxmlformats.org/officeDocument/2006/relationships/tags" Target="../tags/tag27.xml"/><Relationship Id="rId17" Type="http://schemas.openxmlformats.org/officeDocument/2006/relationships/tags" Target="../tags/tag28.xml"/><Relationship Id="rId18" Type="http://schemas.openxmlformats.org/officeDocument/2006/relationships/tags" Target="../tags/tag29.xml"/><Relationship Id="rId19" Type="http://schemas.openxmlformats.org/officeDocument/2006/relationships/tags" Target="../tags/tag30.xml"/><Relationship Id="rId30" Type="http://schemas.openxmlformats.org/officeDocument/2006/relationships/tags" Target="../tags/tag41.xml"/><Relationship Id="rId31" Type="http://schemas.openxmlformats.org/officeDocument/2006/relationships/tags" Target="../tags/tag42.xml"/><Relationship Id="rId32" Type="http://schemas.openxmlformats.org/officeDocument/2006/relationships/tags" Target="../tags/tag43.xml"/><Relationship Id="rId33" Type="http://schemas.openxmlformats.org/officeDocument/2006/relationships/tags" Target="../tags/tag44.xml"/><Relationship Id="rId34" Type="http://schemas.openxmlformats.org/officeDocument/2006/relationships/tags" Target="../tags/tag45.xml"/><Relationship Id="rId35" Type="http://schemas.openxmlformats.org/officeDocument/2006/relationships/tags" Target="../tags/tag46.xml"/><Relationship Id="rId36" Type="http://schemas.openxmlformats.org/officeDocument/2006/relationships/tags" Target="../tags/tag47.xml"/><Relationship Id="rId37" Type="http://schemas.openxmlformats.org/officeDocument/2006/relationships/tags" Target="../tags/tag48.xml"/><Relationship Id="rId38" Type="http://schemas.openxmlformats.org/officeDocument/2006/relationships/tags" Target="../tags/tag49.xml"/><Relationship Id="rId39" Type="http://schemas.openxmlformats.org/officeDocument/2006/relationships/tags" Target="../tags/tag50.xml"/><Relationship Id="rId50" Type="http://schemas.openxmlformats.org/officeDocument/2006/relationships/tags" Target="../tags/tag61.xml"/><Relationship Id="rId51" Type="http://schemas.openxmlformats.org/officeDocument/2006/relationships/tags" Target="../tags/tag62.xml"/><Relationship Id="rId52" Type="http://schemas.openxmlformats.org/officeDocument/2006/relationships/tags" Target="../tags/tag63.xml"/><Relationship Id="rId53" Type="http://schemas.openxmlformats.org/officeDocument/2006/relationships/tags" Target="../tags/tag64.xml"/><Relationship Id="rId54" Type="http://schemas.openxmlformats.org/officeDocument/2006/relationships/tags" Target="../tags/tag65.xml"/><Relationship Id="rId55" Type="http://schemas.openxmlformats.org/officeDocument/2006/relationships/tags" Target="../tags/tag66.xml"/><Relationship Id="rId56" Type="http://schemas.openxmlformats.org/officeDocument/2006/relationships/tags" Target="../tags/tag67.xml"/><Relationship Id="rId57" Type="http://schemas.openxmlformats.org/officeDocument/2006/relationships/tags" Target="../tags/tag68.xml"/><Relationship Id="rId58" Type="http://schemas.openxmlformats.org/officeDocument/2006/relationships/tags" Target="../tags/tag69.xml"/><Relationship Id="rId59" Type="http://schemas.openxmlformats.org/officeDocument/2006/relationships/tags" Target="../tags/tag70.xml"/><Relationship Id="rId70" Type="http://schemas.openxmlformats.org/officeDocument/2006/relationships/tags" Target="../tags/tag81.xml"/><Relationship Id="rId71" Type="http://schemas.openxmlformats.org/officeDocument/2006/relationships/tags" Target="../tags/tag82.xml"/><Relationship Id="rId72" Type="http://schemas.openxmlformats.org/officeDocument/2006/relationships/tags" Target="../tags/tag83.xml"/><Relationship Id="rId73" Type="http://schemas.openxmlformats.org/officeDocument/2006/relationships/tags" Target="../tags/tag84.xml"/><Relationship Id="rId74" Type="http://schemas.openxmlformats.org/officeDocument/2006/relationships/tags" Target="../tags/tag85.xml"/><Relationship Id="rId75" Type="http://schemas.openxmlformats.org/officeDocument/2006/relationships/tags" Target="../tags/tag86.xml"/><Relationship Id="rId76" Type="http://schemas.openxmlformats.org/officeDocument/2006/relationships/tags" Target="../tags/tag87.xml"/><Relationship Id="rId77" Type="http://schemas.openxmlformats.org/officeDocument/2006/relationships/tags" Target="../tags/tag88.xml"/><Relationship Id="rId78" Type="http://schemas.openxmlformats.org/officeDocument/2006/relationships/tags" Target="../tags/tag89.xml"/><Relationship Id="rId79" Type="http://schemas.openxmlformats.org/officeDocument/2006/relationships/tags" Target="../tags/tag90.xml"/><Relationship Id="rId110" Type="http://schemas.openxmlformats.org/officeDocument/2006/relationships/notesSlide" Target="../notesSlides/notesSlide9.xml"/><Relationship Id="rId90" Type="http://schemas.openxmlformats.org/officeDocument/2006/relationships/tags" Target="../tags/tag101.xml"/><Relationship Id="rId91" Type="http://schemas.openxmlformats.org/officeDocument/2006/relationships/tags" Target="../tags/tag102.xml"/><Relationship Id="rId92" Type="http://schemas.openxmlformats.org/officeDocument/2006/relationships/tags" Target="../tags/tag103.xml"/><Relationship Id="rId93" Type="http://schemas.openxmlformats.org/officeDocument/2006/relationships/tags" Target="../tags/tag104.xml"/><Relationship Id="rId94" Type="http://schemas.openxmlformats.org/officeDocument/2006/relationships/tags" Target="../tags/tag105.xml"/><Relationship Id="rId95" Type="http://schemas.openxmlformats.org/officeDocument/2006/relationships/tags" Target="../tags/tag106.xml"/><Relationship Id="rId96" Type="http://schemas.openxmlformats.org/officeDocument/2006/relationships/tags" Target="../tags/tag107.xml"/><Relationship Id="rId97" Type="http://schemas.openxmlformats.org/officeDocument/2006/relationships/tags" Target="../tags/tag108.xml"/><Relationship Id="rId98" Type="http://schemas.openxmlformats.org/officeDocument/2006/relationships/tags" Target="../tags/tag109.xml"/><Relationship Id="rId99" Type="http://schemas.openxmlformats.org/officeDocument/2006/relationships/tags" Target="../tags/tag110.xml"/><Relationship Id="rId111" Type="http://schemas.openxmlformats.org/officeDocument/2006/relationships/chart" Target="../charts/chart2.xml"/><Relationship Id="rId112" Type="http://schemas.openxmlformats.org/officeDocument/2006/relationships/chart" Target="../charts/chart3.xml"/><Relationship Id="rId113" Type="http://schemas.openxmlformats.org/officeDocument/2006/relationships/chart" Target="../charts/chart4.xml"/><Relationship Id="rId114" Type="http://schemas.openxmlformats.org/officeDocument/2006/relationships/chart" Target="../charts/chart5.xml"/><Relationship Id="rId20" Type="http://schemas.openxmlformats.org/officeDocument/2006/relationships/tags" Target="../tags/tag31.xml"/><Relationship Id="rId21" Type="http://schemas.openxmlformats.org/officeDocument/2006/relationships/tags" Target="../tags/tag32.xml"/><Relationship Id="rId22" Type="http://schemas.openxmlformats.org/officeDocument/2006/relationships/tags" Target="../tags/tag33.xml"/><Relationship Id="rId23" Type="http://schemas.openxmlformats.org/officeDocument/2006/relationships/tags" Target="../tags/tag34.xml"/><Relationship Id="rId24" Type="http://schemas.openxmlformats.org/officeDocument/2006/relationships/tags" Target="../tags/tag35.xml"/><Relationship Id="rId25" Type="http://schemas.openxmlformats.org/officeDocument/2006/relationships/tags" Target="../tags/tag36.xml"/><Relationship Id="rId26" Type="http://schemas.openxmlformats.org/officeDocument/2006/relationships/tags" Target="../tags/tag37.xml"/><Relationship Id="rId27" Type="http://schemas.openxmlformats.org/officeDocument/2006/relationships/tags" Target="../tags/tag38.xml"/><Relationship Id="rId28" Type="http://schemas.openxmlformats.org/officeDocument/2006/relationships/tags" Target="../tags/tag39.xml"/><Relationship Id="rId29" Type="http://schemas.openxmlformats.org/officeDocument/2006/relationships/tags" Target="../tags/tag40.xml"/><Relationship Id="rId40" Type="http://schemas.openxmlformats.org/officeDocument/2006/relationships/tags" Target="../tags/tag51.xml"/><Relationship Id="rId41" Type="http://schemas.openxmlformats.org/officeDocument/2006/relationships/tags" Target="../tags/tag52.xml"/><Relationship Id="rId42" Type="http://schemas.openxmlformats.org/officeDocument/2006/relationships/tags" Target="../tags/tag53.xml"/><Relationship Id="rId43" Type="http://schemas.openxmlformats.org/officeDocument/2006/relationships/tags" Target="../tags/tag54.xml"/><Relationship Id="rId44" Type="http://schemas.openxmlformats.org/officeDocument/2006/relationships/tags" Target="../tags/tag55.xml"/><Relationship Id="rId45" Type="http://schemas.openxmlformats.org/officeDocument/2006/relationships/tags" Target="../tags/tag56.xml"/><Relationship Id="rId46" Type="http://schemas.openxmlformats.org/officeDocument/2006/relationships/tags" Target="../tags/tag57.xml"/><Relationship Id="rId47" Type="http://schemas.openxmlformats.org/officeDocument/2006/relationships/tags" Target="../tags/tag58.xml"/><Relationship Id="rId48" Type="http://schemas.openxmlformats.org/officeDocument/2006/relationships/tags" Target="../tags/tag59.xml"/><Relationship Id="rId49" Type="http://schemas.openxmlformats.org/officeDocument/2006/relationships/tags" Target="../tags/tag60.xml"/><Relationship Id="rId60" Type="http://schemas.openxmlformats.org/officeDocument/2006/relationships/tags" Target="../tags/tag71.xml"/><Relationship Id="rId61" Type="http://schemas.openxmlformats.org/officeDocument/2006/relationships/tags" Target="../tags/tag72.xml"/><Relationship Id="rId62" Type="http://schemas.openxmlformats.org/officeDocument/2006/relationships/tags" Target="../tags/tag73.xml"/><Relationship Id="rId63" Type="http://schemas.openxmlformats.org/officeDocument/2006/relationships/tags" Target="../tags/tag74.xml"/><Relationship Id="rId64" Type="http://schemas.openxmlformats.org/officeDocument/2006/relationships/tags" Target="../tags/tag75.xml"/><Relationship Id="rId65" Type="http://schemas.openxmlformats.org/officeDocument/2006/relationships/tags" Target="../tags/tag76.xml"/><Relationship Id="rId66" Type="http://schemas.openxmlformats.org/officeDocument/2006/relationships/tags" Target="../tags/tag77.xml"/><Relationship Id="rId67" Type="http://schemas.openxmlformats.org/officeDocument/2006/relationships/tags" Target="../tags/tag78.xml"/><Relationship Id="rId68" Type="http://schemas.openxmlformats.org/officeDocument/2006/relationships/tags" Target="../tags/tag79.xml"/><Relationship Id="rId69" Type="http://schemas.openxmlformats.org/officeDocument/2006/relationships/tags" Target="../tags/tag80.xml"/><Relationship Id="rId100" Type="http://schemas.openxmlformats.org/officeDocument/2006/relationships/tags" Target="../tags/tag111.xml"/><Relationship Id="rId80" Type="http://schemas.openxmlformats.org/officeDocument/2006/relationships/tags" Target="../tags/tag91.xml"/><Relationship Id="rId81" Type="http://schemas.openxmlformats.org/officeDocument/2006/relationships/tags" Target="../tags/tag92.xml"/><Relationship Id="rId82" Type="http://schemas.openxmlformats.org/officeDocument/2006/relationships/tags" Target="../tags/tag93.xml"/><Relationship Id="rId83" Type="http://schemas.openxmlformats.org/officeDocument/2006/relationships/tags" Target="../tags/tag94.xml"/><Relationship Id="rId84" Type="http://schemas.openxmlformats.org/officeDocument/2006/relationships/tags" Target="../tags/tag95.xml"/><Relationship Id="rId85" Type="http://schemas.openxmlformats.org/officeDocument/2006/relationships/tags" Target="../tags/tag96.xml"/><Relationship Id="rId86" Type="http://schemas.openxmlformats.org/officeDocument/2006/relationships/tags" Target="../tags/tag97.xml"/><Relationship Id="rId87" Type="http://schemas.openxmlformats.org/officeDocument/2006/relationships/tags" Target="../tags/tag98.xml"/><Relationship Id="rId88" Type="http://schemas.openxmlformats.org/officeDocument/2006/relationships/tags" Target="../tags/tag99.xml"/><Relationship Id="rId89" Type="http://schemas.openxmlformats.org/officeDocument/2006/relationships/tags" Target="../tags/tag10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4" y="2007276"/>
            <a:ext cx="8643206" cy="1320123"/>
          </a:xfrm>
        </p:spPr>
        <p:txBody>
          <a:bodyPr/>
          <a:lstStyle/>
          <a:p>
            <a:r>
              <a:rPr lang="en-US" dirty="0" err="1"/>
              <a:t>D</a:t>
            </a:r>
            <a:r>
              <a:rPr lang="en-US" dirty="0" err="1" smtClean="0"/>
              <a:t>evOps</a:t>
            </a:r>
            <a:r>
              <a:rPr lang="en-US" dirty="0" smtClean="0"/>
              <a:t>: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terpretations </a:t>
            </a:r>
            <a:r>
              <a:rPr lang="en-US" dirty="0" smtClean="0"/>
              <a:t>from Cisc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Ramya Ravichandar, Ph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51847" y="3863104"/>
            <a:ext cx="8112650" cy="288131"/>
          </a:xfrm>
        </p:spPr>
        <p:txBody>
          <a:bodyPr/>
          <a:lstStyle/>
          <a:p>
            <a:r>
              <a:rPr lang="en-US" dirty="0" smtClean="0"/>
              <a:t>Technical Leader, Cisco Systems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Oct 23 201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962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127161" y="1028184"/>
            <a:ext cx="3084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+mj-lt"/>
              </a:rPr>
              <a:t>Agile Lifecycle </a:t>
            </a:r>
            <a:r>
              <a:rPr lang="en-US" dirty="0" smtClean="0">
                <a:solidFill>
                  <a:srgbClr val="000000"/>
                </a:solidFill>
                <a:latin typeface="+mj-lt"/>
              </a:rPr>
              <a:t>Management </a:t>
            </a:r>
            <a:endParaRPr lang="en-US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443205" y="3555484"/>
            <a:ext cx="30201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Development Environments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998444" y="3740150"/>
            <a:ext cx="12110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US" dirty="0" smtClean="0">
                <a:solidFill>
                  <a:srgbClr val="000000"/>
                </a:solidFill>
                <a:cs typeface="Arial" charset="0"/>
              </a:rPr>
              <a:t>Build &amp; CI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23718" y="2387084"/>
            <a:ext cx="21857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Commit Processing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555856" y="284718"/>
            <a:ext cx="29434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US" dirty="0">
                <a:cs typeface="Arial" charset="0"/>
              </a:rPr>
              <a:t>Source Code </a:t>
            </a:r>
            <a:r>
              <a:rPr lang="en-US" dirty="0" smtClean="0">
                <a:cs typeface="Arial" charset="0"/>
              </a:rPr>
              <a:t>Management </a:t>
            </a:r>
            <a:endParaRPr lang="en-US" dirty="0">
              <a:cs typeface="Arial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08496" y="2202418"/>
            <a:ext cx="15311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Testing &amp; QA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835662" y="1338302"/>
            <a:ext cx="18270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Test Automation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440356" y="4215884"/>
            <a:ext cx="22632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Defect Management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4458" y="1522968"/>
            <a:ext cx="2613575" cy="1574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D</a:t>
            </a:r>
            <a:r>
              <a:rPr lang="en-US" dirty="0" err="1" smtClean="0"/>
              <a:t>evOps</a:t>
            </a:r>
            <a:r>
              <a:rPr lang="en-US" dirty="0" smtClean="0"/>
              <a:t> </a:t>
            </a:r>
            <a:r>
              <a:rPr lang="en-US" dirty="0" smtClean="0"/>
              <a:t>Principles 	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686" y="2789767"/>
            <a:ext cx="3226161" cy="17018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7596" y="2954020"/>
            <a:ext cx="3048000" cy="17068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2834" y="1031846"/>
            <a:ext cx="2717800" cy="129775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6385" y="60529"/>
            <a:ext cx="1519211" cy="2269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47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" y="63576"/>
            <a:ext cx="8301718" cy="1320724"/>
          </a:xfrm>
        </p:spPr>
        <p:txBody>
          <a:bodyPr/>
          <a:lstStyle/>
          <a:p>
            <a:r>
              <a:rPr lang="en-US" dirty="0" smtClean="0"/>
              <a:t>First Way- Systems Thinking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45456" y="3683685"/>
            <a:ext cx="5994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/>
              <a:t>“If you put a good person against a bad system, the system wins every time.</a:t>
            </a:r>
            <a:r>
              <a:rPr lang="en-US" i="1" dirty="0" smtClean="0"/>
              <a:t>” – Geary </a:t>
            </a:r>
            <a:r>
              <a:rPr lang="en-US" i="1" dirty="0" err="1" smtClean="0"/>
              <a:t>Rummler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3027102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D</a:t>
            </a:r>
            <a:r>
              <a:rPr lang="en-US" dirty="0" err="1" smtClean="0"/>
              <a:t>evOps</a:t>
            </a:r>
            <a:r>
              <a:rPr lang="en-US" dirty="0" smtClean="0"/>
              <a:t> </a:t>
            </a:r>
            <a:r>
              <a:rPr lang="en-US" dirty="0"/>
              <a:t>! </a:t>
            </a:r>
            <a:r>
              <a:rPr lang="en-US" dirty="0" smtClean="0"/>
              <a:t>= Continuous Delivery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746449" y="1205321"/>
            <a:ext cx="2147305" cy="369332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cs typeface="Apple Chancery"/>
              </a:rPr>
              <a:t>Upstream Activities</a:t>
            </a:r>
            <a:endParaRPr lang="en-US" dirty="0">
              <a:cs typeface="Apple Chancery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46449" y="3217958"/>
            <a:ext cx="2442383" cy="369332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cs typeface="Apple Chancery"/>
              </a:rPr>
              <a:t>Downstream Activities</a:t>
            </a:r>
            <a:endParaRPr lang="en-US" dirty="0">
              <a:cs typeface="Apple Chancery"/>
            </a:endParaRPr>
          </a:p>
        </p:txBody>
      </p:sp>
      <p:cxnSp>
        <p:nvCxnSpPr>
          <p:cNvPr id="7" name="Straight Arrow Connector 6"/>
          <p:cNvCxnSpPr>
            <a:endCxn id="5" idx="0"/>
          </p:cNvCxnSpPr>
          <p:nvPr/>
        </p:nvCxnSpPr>
        <p:spPr>
          <a:xfrm>
            <a:off x="1967641" y="1574653"/>
            <a:ext cx="0" cy="1643305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5382945" y="1613921"/>
            <a:ext cx="1178030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pple Chancery"/>
                <a:cs typeface="Apple Chancery"/>
              </a:rPr>
              <a:t>developers</a:t>
            </a:r>
            <a:endParaRPr lang="en-US" dirty="0">
              <a:latin typeface="Apple Chancery"/>
              <a:cs typeface="Apple Chancery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756672" y="2420467"/>
            <a:ext cx="822314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pple Chancery"/>
                <a:cs typeface="Apple Chancery"/>
              </a:rPr>
              <a:t>testers</a:t>
            </a:r>
            <a:endParaRPr lang="en-US" dirty="0">
              <a:latin typeface="Apple Chancery"/>
              <a:cs typeface="Apple Chancery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343238" y="1031846"/>
            <a:ext cx="2083623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pple Chancery"/>
                <a:cs typeface="Apple Chancery"/>
              </a:rPr>
              <a:t>Solutions Architect</a:t>
            </a:r>
            <a:endParaRPr lang="en-US" dirty="0">
              <a:latin typeface="Apple Chancery"/>
              <a:cs typeface="Apple Chancery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365009" y="1016561"/>
            <a:ext cx="2391663" cy="36933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pple Chancery"/>
                <a:cs typeface="Apple Chancery"/>
              </a:rPr>
              <a:t>Product Management</a:t>
            </a:r>
            <a:endParaRPr lang="en-US" dirty="0">
              <a:latin typeface="Apple Chancery"/>
              <a:cs typeface="Apple Chancery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188832" y="2420467"/>
            <a:ext cx="2109209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pple Chancery"/>
                <a:cs typeface="Apple Chancery"/>
              </a:rPr>
              <a:t>Network engineers</a:t>
            </a:r>
            <a:endParaRPr lang="en-US" dirty="0">
              <a:latin typeface="Apple Chancery"/>
              <a:cs typeface="Apple Chancery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583728" y="3450367"/>
            <a:ext cx="976390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pple Chancery"/>
                <a:cs typeface="Apple Chancery"/>
              </a:rPr>
              <a:t>Services</a:t>
            </a:r>
            <a:endParaRPr lang="en-US" dirty="0">
              <a:latin typeface="Apple Chancery"/>
              <a:cs typeface="Apple Chancery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763529" y="3402624"/>
            <a:ext cx="993143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pple Chancery"/>
                <a:cs typeface="Apple Chancery"/>
              </a:rPr>
              <a:t>Support</a:t>
            </a:r>
            <a:endParaRPr lang="en-US" dirty="0">
              <a:latin typeface="Apple Chancery"/>
              <a:cs typeface="Apple Chancery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6864" y="2249095"/>
            <a:ext cx="2307058" cy="2307058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5113669" y="3972099"/>
            <a:ext cx="713773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pple Chancery"/>
                <a:cs typeface="Apple Chancery"/>
              </a:rPr>
              <a:t>Sales</a:t>
            </a:r>
            <a:endParaRPr lang="en-US" dirty="0">
              <a:latin typeface="Apple Chancery"/>
              <a:cs typeface="Apple Chancery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628359" y="4156765"/>
            <a:ext cx="3120945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pple Chancery"/>
                <a:cs typeface="Apple Chancery"/>
              </a:rPr>
              <a:t>Supply chain/ manufacturing</a:t>
            </a:r>
            <a:endParaRPr lang="en-US" dirty="0">
              <a:latin typeface="Apple Chancery"/>
              <a:cs typeface="Apple Chancery"/>
            </a:endParaRPr>
          </a:p>
        </p:txBody>
      </p:sp>
    </p:spTree>
    <p:extLst>
      <p:ext uri="{BB962C8B-B14F-4D97-AF65-F5344CB8AC3E}">
        <p14:creationId xmlns:p14="http://schemas.microsoft.com/office/powerpoint/2010/main" val="3580851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826940"/>
            <a:ext cx="9144000" cy="4003596"/>
          </a:xfrm>
          <a:prstGeom prst="rect">
            <a:avLst/>
          </a:prstGeom>
          <a:blipFill dpi="0" rotWithShape="1">
            <a:blip r:embed="rId3" cstate="email">
              <a:alphaModFix amt="4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1"/>
            </a:stretch>
          </a:blipFill>
          <a:ln w="6350"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FFFF"/>
                </a:solidFill>
              </a:rPr>
              <a:t>Transformation from the top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1" name="Freeform 8"/>
          <p:cNvSpPr>
            <a:spLocks/>
          </p:cNvSpPr>
          <p:nvPr/>
        </p:nvSpPr>
        <p:spPr bwMode="auto">
          <a:xfrm>
            <a:off x="2681155" y="3025158"/>
            <a:ext cx="5715427" cy="1647784"/>
          </a:xfrm>
          <a:custGeom>
            <a:avLst/>
            <a:gdLst>
              <a:gd name="T0" fmla="*/ 673 w 1787"/>
              <a:gd name="T1" fmla="*/ 41 h 541"/>
              <a:gd name="T2" fmla="*/ 233 w 1787"/>
              <a:gd name="T3" fmla="*/ 81 h 541"/>
              <a:gd name="T4" fmla="*/ 1787 w 1787"/>
              <a:gd name="T5" fmla="*/ 267 h 541"/>
              <a:gd name="T6" fmla="*/ 1378 w 1787"/>
              <a:gd name="T7" fmla="*/ 541 h 541"/>
              <a:gd name="T8" fmla="*/ 116 w 1787"/>
              <a:gd name="T9" fmla="*/ 84 h 541"/>
              <a:gd name="T10" fmla="*/ 686 w 1787"/>
              <a:gd name="T11" fmla="*/ 36 h 541"/>
              <a:gd name="T12" fmla="*/ 673 w 1787"/>
              <a:gd name="T13" fmla="*/ 41 h 5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87" h="541">
                <a:moveTo>
                  <a:pt x="673" y="41"/>
                </a:moveTo>
                <a:cubicBezTo>
                  <a:pt x="360" y="42"/>
                  <a:pt x="47" y="43"/>
                  <a:pt x="233" y="81"/>
                </a:cubicBezTo>
                <a:cubicBezTo>
                  <a:pt x="419" y="118"/>
                  <a:pt x="1103" y="193"/>
                  <a:pt x="1787" y="267"/>
                </a:cubicBezTo>
                <a:cubicBezTo>
                  <a:pt x="1378" y="541"/>
                  <a:pt x="1378" y="541"/>
                  <a:pt x="1378" y="541"/>
                </a:cubicBezTo>
                <a:cubicBezTo>
                  <a:pt x="805" y="354"/>
                  <a:pt x="231" y="168"/>
                  <a:pt x="116" y="84"/>
                </a:cubicBezTo>
                <a:cubicBezTo>
                  <a:pt x="0" y="0"/>
                  <a:pt x="343" y="18"/>
                  <a:pt x="686" y="36"/>
                </a:cubicBezTo>
                <a:lnTo>
                  <a:pt x="673" y="4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66000">
                <a:srgbClr val="FF8F3B">
                  <a:alpha val="41000"/>
                </a:srgbClr>
              </a:gs>
              <a:gs pos="83000">
                <a:schemeClr val="bg1">
                  <a:alpha val="0"/>
                </a:schemeClr>
              </a:gs>
            </a:gsLst>
            <a:lin ang="36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algn="ctr" defTabSz="913176"/>
            <a:endParaRPr lang="en-US" kern="0">
              <a:solidFill>
                <a:srgbClr val="FFFFFF"/>
              </a:solidFill>
              <a:latin typeface="Helvetica" pitchFamily="34" charset="0"/>
            </a:endParaRPr>
          </a:p>
        </p:txBody>
      </p:sp>
      <p:grpSp>
        <p:nvGrpSpPr>
          <p:cNvPr id="5" name="Group 146"/>
          <p:cNvGrpSpPr>
            <a:grpSpLocks/>
          </p:cNvGrpSpPr>
          <p:nvPr/>
        </p:nvGrpSpPr>
        <p:grpSpPr bwMode="auto">
          <a:xfrm>
            <a:off x="6765177" y="3436780"/>
            <a:ext cx="2279716" cy="1204196"/>
            <a:chOff x="659" y="2700"/>
            <a:chExt cx="1187" cy="627"/>
          </a:xfrm>
          <a:effectLst>
            <a:outerShdw blurRad="177800" sx="107000" sy="107000" algn="ctr" rotWithShape="0">
              <a:schemeClr val="accent1">
                <a:lumMod val="75000"/>
              </a:schemeClr>
            </a:outerShdw>
          </a:effectLst>
          <a:scene3d>
            <a:camera prst="isometricRightUp"/>
            <a:lightRig rig="threePt" dir="t"/>
          </a:scene3d>
        </p:grpSpPr>
        <p:sp>
          <p:nvSpPr>
            <p:cNvPr id="6" name="Rectangle 132"/>
            <p:cNvSpPr>
              <a:spLocks noChangeArrowheads="1"/>
            </p:cNvSpPr>
            <p:nvPr/>
          </p:nvSpPr>
          <p:spPr bwMode="auto">
            <a:xfrm>
              <a:off x="994" y="3116"/>
              <a:ext cx="54" cy="2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l" eaLnBrk="1" hangingPunct="1">
                <a:lnSpc>
                  <a:spcPct val="100000"/>
                </a:lnSpc>
              </a:pPr>
              <a:endParaRPr lang="en-US" altLang="en-US">
                <a:solidFill>
                  <a:srgbClr val="000000"/>
                </a:solidFill>
              </a:endParaRPr>
            </a:p>
          </p:txBody>
        </p:sp>
        <p:sp>
          <p:nvSpPr>
            <p:cNvPr id="7" name="Freeform 133"/>
            <p:cNvSpPr>
              <a:spLocks/>
            </p:cNvSpPr>
            <p:nvPr/>
          </p:nvSpPr>
          <p:spPr bwMode="auto">
            <a:xfrm>
              <a:off x="1309" y="3111"/>
              <a:ext cx="157" cy="216"/>
            </a:xfrm>
            <a:custGeom>
              <a:avLst/>
              <a:gdLst>
                <a:gd name="T0" fmla="*/ 2147483647 w 58"/>
                <a:gd name="T1" fmla="*/ 2147483647 h 80"/>
                <a:gd name="T2" fmla="*/ 2147483647 w 58"/>
                <a:gd name="T3" fmla="*/ 2147483647 h 80"/>
                <a:gd name="T4" fmla="*/ 2147483647 w 58"/>
                <a:gd name="T5" fmla="*/ 2147483647 h 80"/>
                <a:gd name="T6" fmla="*/ 2147483647 w 58"/>
                <a:gd name="T7" fmla="*/ 2147483647 h 80"/>
                <a:gd name="T8" fmla="*/ 2147483647 w 58"/>
                <a:gd name="T9" fmla="*/ 2147483647 h 80"/>
                <a:gd name="T10" fmla="*/ 2147483647 w 58"/>
                <a:gd name="T11" fmla="*/ 2147483647 h 80"/>
                <a:gd name="T12" fmla="*/ 2147483647 w 58"/>
                <a:gd name="T13" fmla="*/ 2147483647 h 80"/>
                <a:gd name="T14" fmla="*/ 0 w 58"/>
                <a:gd name="T15" fmla="*/ 2147483647 h 80"/>
                <a:gd name="T16" fmla="*/ 2147483647 w 58"/>
                <a:gd name="T17" fmla="*/ 0 h 80"/>
                <a:gd name="T18" fmla="*/ 2147483647 w 58"/>
                <a:gd name="T19" fmla="*/ 1267236220 h 80"/>
                <a:gd name="T20" fmla="*/ 2147483647 w 58"/>
                <a:gd name="T21" fmla="*/ 2147483647 h 8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8"/>
                <a:gd name="T34" fmla="*/ 0 h 80"/>
                <a:gd name="T35" fmla="*/ 58 w 58"/>
                <a:gd name="T36" fmla="*/ 80 h 8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134"/>
            <p:cNvSpPr>
              <a:spLocks/>
            </p:cNvSpPr>
            <p:nvPr/>
          </p:nvSpPr>
          <p:spPr bwMode="auto">
            <a:xfrm>
              <a:off x="767" y="3111"/>
              <a:ext cx="157" cy="216"/>
            </a:xfrm>
            <a:custGeom>
              <a:avLst/>
              <a:gdLst>
                <a:gd name="T0" fmla="*/ 2147483647 w 58"/>
                <a:gd name="T1" fmla="*/ 2147483647 h 80"/>
                <a:gd name="T2" fmla="*/ 2147483647 w 58"/>
                <a:gd name="T3" fmla="*/ 2147483647 h 80"/>
                <a:gd name="T4" fmla="*/ 2147483647 w 58"/>
                <a:gd name="T5" fmla="*/ 2147483647 h 80"/>
                <a:gd name="T6" fmla="*/ 2147483647 w 58"/>
                <a:gd name="T7" fmla="*/ 2147483647 h 80"/>
                <a:gd name="T8" fmla="*/ 2147483647 w 58"/>
                <a:gd name="T9" fmla="*/ 2147483647 h 80"/>
                <a:gd name="T10" fmla="*/ 2147483647 w 58"/>
                <a:gd name="T11" fmla="*/ 2147483647 h 80"/>
                <a:gd name="T12" fmla="*/ 2147483647 w 58"/>
                <a:gd name="T13" fmla="*/ 2147483647 h 80"/>
                <a:gd name="T14" fmla="*/ 0 w 58"/>
                <a:gd name="T15" fmla="*/ 2147483647 h 80"/>
                <a:gd name="T16" fmla="*/ 2147483647 w 58"/>
                <a:gd name="T17" fmla="*/ 0 h 80"/>
                <a:gd name="T18" fmla="*/ 2147483647 w 58"/>
                <a:gd name="T19" fmla="*/ 1267236220 h 80"/>
                <a:gd name="T20" fmla="*/ 2147483647 w 58"/>
                <a:gd name="T21" fmla="*/ 2147483647 h 8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8"/>
                <a:gd name="T34" fmla="*/ 0 h 80"/>
                <a:gd name="T35" fmla="*/ 58 w 58"/>
                <a:gd name="T36" fmla="*/ 80 h 8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35"/>
            <p:cNvSpPr>
              <a:spLocks noEditPoints="1"/>
            </p:cNvSpPr>
            <p:nvPr/>
          </p:nvSpPr>
          <p:spPr bwMode="auto">
            <a:xfrm>
              <a:off x="1523" y="3111"/>
              <a:ext cx="215" cy="216"/>
            </a:xfrm>
            <a:custGeom>
              <a:avLst/>
              <a:gdLst>
                <a:gd name="T0" fmla="*/ 2147483647 w 80"/>
                <a:gd name="T1" fmla="*/ 2147483647 h 80"/>
                <a:gd name="T2" fmla="*/ 2147483647 w 80"/>
                <a:gd name="T3" fmla="*/ 2147483647 h 80"/>
                <a:gd name="T4" fmla="*/ 0 w 80"/>
                <a:gd name="T5" fmla="*/ 2147483647 h 80"/>
                <a:gd name="T6" fmla="*/ 2147483647 w 80"/>
                <a:gd name="T7" fmla="*/ 0 h 80"/>
                <a:gd name="T8" fmla="*/ 2147483647 w 80"/>
                <a:gd name="T9" fmla="*/ 2147483647 h 80"/>
                <a:gd name="T10" fmla="*/ 2147483647 w 80"/>
                <a:gd name="T11" fmla="*/ 2147483647 h 80"/>
                <a:gd name="T12" fmla="*/ 2147483647 w 80"/>
                <a:gd name="T13" fmla="*/ 2147483647 h 80"/>
                <a:gd name="T14" fmla="*/ 2147483647 w 80"/>
                <a:gd name="T15" fmla="*/ 2147483647 h 80"/>
                <a:gd name="T16" fmla="*/ 2147483647 w 80"/>
                <a:gd name="T17" fmla="*/ 2147483647 h 80"/>
                <a:gd name="T18" fmla="*/ 2147483647 w 80"/>
                <a:gd name="T19" fmla="*/ 2147483647 h 8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0"/>
                <a:gd name="T31" fmla="*/ 0 h 80"/>
                <a:gd name="T32" fmla="*/ 80 w 80"/>
                <a:gd name="T33" fmla="*/ 80 h 8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36"/>
            <p:cNvSpPr>
              <a:spLocks/>
            </p:cNvSpPr>
            <p:nvPr/>
          </p:nvSpPr>
          <p:spPr bwMode="auto">
            <a:xfrm>
              <a:off x="1118" y="3111"/>
              <a:ext cx="140" cy="216"/>
            </a:xfrm>
            <a:custGeom>
              <a:avLst/>
              <a:gdLst>
                <a:gd name="T0" fmla="*/ 2147483647 w 52"/>
                <a:gd name="T1" fmla="*/ 2147483647 h 80"/>
                <a:gd name="T2" fmla="*/ 2147483647 w 52"/>
                <a:gd name="T3" fmla="*/ 2147483647 h 80"/>
                <a:gd name="T4" fmla="*/ 2147483647 w 52"/>
                <a:gd name="T5" fmla="*/ 2147483647 h 80"/>
                <a:gd name="T6" fmla="*/ 2147483647 w 52"/>
                <a:gd name="T7" fmla="*/ 2147483647 h 80"/>
                <a:gd name="T8" fmla="*/ 2147483647 w 52"/>
                <a:gd name="T9" fmla="*/ 2147483647 h 80"/>
                <a:gd name="T10" fmla="*/ 2147483647 w 52"/>
                <a:gd name="T11" fmla="*/ 2147483647 h 80"/>
                <a:gd name="T12" fmla="*/ 2147483647 w 52"/>
                <a:gd name="T13" fmla="*/ 2147483647 h 80"/>
                <a:gd name="T14" fmla="*/ 0 w 52"/>
                <a:gd name="T15" fmla="*/ 2147483647 h 80"/>
                <a:gd name="T16" fmla="*/ 0 w 52"/>
                <a:gd name="T17" fmla="*/ 2147483647 h 80"/>
                <a:gd name="T18" fmla="*/ 2147483647 w 52"/>
                <a:gd name="T19" fmla="*/ 2147483647 h 80"/>
                <a:gd name="T20" fmla="*/ 2147483647 w 52"/>
                <a:gd name="T21" fmla="*/ 2147483647 h 80"/>
                <a:gd name="T22" fmla="*/ 2147483647 w 52"/>
                <a:gd name="T23" fmla="*/ 2147483647 h 80"/>
                <a:gd name="T24" fmla="*/ 2147483647 w 52"/>
                <a:gd name="T25" fmla="*/ 2147483647 h 80"/>
                <a:gd name="T26" fmla="*/ 0 w 52"/>
                <a:gd name="T27" fmla="*/ 2147483647 h 80"/>
                <a:gd name="T28" fmla="*/ 2147483647 w 52"/>
                <a:gd name="T29" fmla="*/ 0 h 80"/>
                <a:gd name="T30" fmla="*/ 2147483647 w 52"/>
                <a:gd name="T31" fmla="*/ 1267236220 h 80"/>
                <a:gd name="T32" fmla="*/ 2147483647 w 52"/>
                <a:gd name="T33" fmla="*/ 2147483647 h 8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2"/>
                <a:gd name="T52" fmla="*/ 0 h 80"/>
                <a:gd name="T53" fmla="*/ 52 w 52"/>
                <a:gd name="T54" fmla="*/ 80 h 8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37"/>
            <p:cNvSpPr>
              <a:spLocks/>
            </p:cNvSpPr>
            <p:nvPr/>
          </p:nvSpPr>
          <p:spPr bwMode="auto">
            <a:xfrm>
              <a:off x="659" y="2868"/>
              <a:ext cx="51" cy="105"/>
            </a:xfrm>
            <a:custGeom>
              <a:avLst/>
              <a:gdLst>
                <a:gd name="T0" fmla="*/ 2147483647 w 19"/>
                <a:gd name="T1" fmla="*/ 2147483647 h 39"/>
                <a:gd name="T2" fmla="*/ 2147483647 w 19"/>
                <a:gd name="T3" fmla="*/ 0 h 39"/>
                <a:gd name="T4" fmla="*/ 0 w 19"/>
                <a:gd name="T5" fmla="*/ 2147483647 h 39"/>
                <a:gd name="T6" fmla="*/ 0 w 19"/>
                <a:gd name="T7" fmla="*/ 2147483647 h 39"/>
                <a:gd name="T8" fmla="*/ 2147483647 w 19"/>
                <a:gd name="T9" fmla="*/ 2147483647 h 39"/>
                <a:gd name="T10" fmla="*/ 2147483647 w 19"/>
                <a:gd name="T11" fmla="*/ 2147483647 h 39"/>
                <a:gd name="T12" fmla="*/ 2147483647 w 19"/>
                <a:gd name="T13" fmla="*/ 2147483647 h 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39"/>
                <a:gd name="T23" fmla="*/ 19 w 19"/>
                <a:gd name="T24" fmla="*/ 39 h 3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Freeform 138"/>
            <p:cNvSpPr>
              <a:spLocks/>
            </p:cNvSpPr>
            <p:nvPr/>
          </p:nvSpPr>
          <p:spPr bwMode="auto">
            <a:xfrm>
              <a:off x="802" y="2797"/>
              <a:ext cx="51" cy="176"/>
            </a:xfrm>
            <a:custGeom>
              <a:avLst/>
              <a:gdLst>
                <a:gd name="T0" fmla="*/ 2147483647 w 19"/>
                <a:gd name="T1" fmla="*/ 2147483647 h 65"/>
                <a:gd name="T2" fmla="*/ 2147483647 w 19"/>
                <a:gd name="T3" fmla="*/ 0 h 65"/>
                <a:gd name="T4" fmla="*/ 0 w 19"/>
                <a:gd name="T5" fmla="*/ 2147483647 h 65"/>
                <a:gd name="T6" fmla="*/ 0 w 19"/>
                <a:gd name="T7" fmla="*/ 2147483647 h 65"/>
                <a:gd name="T8" fmla="*/ 2147483647 w 19"/>
                <a:gd name="T9" fmla="*/ 2147483647 h 65"/>
                <a:gd name="T10" fmla="*/ 2147483647 w 19"/>
                <a:gd name="T11" fmla="*/ 2147483647 h 65"/>
                <a:gd name="T12" fmla="*/ 2147483647 w 19"/>
                <a:gd name="T13" fmla="*/ 2147483647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65"/>
                <a:gd name="T23" fmla="*/ 19 w 19"/>
                <a:gd name="T24" fmla="*/ 65 h 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139"/>
            <p:cNvSpPr>
              <a:spLocks/>
            </p:cNvSpPr>
            <p:nvPr/>
          </p:nvSpPr>
          <p:spPr bwMode="auto">
            <a:xfrm>
              <a:off x="942" y="2700"/>
              <a:ext cx="52" cy="324"/>
            </a:xfrm>
            <a:custGeom>
              <a:avLst/>
              <a:gdLst>
                <a:gd name="T0" fmla="*/ 2147483647 w 19"/>
                <a:gd name="T1" fmla="*/ 2147483647 h 120"/>
                <a:gd name="T2" fmla="*/ 2147483647 w 19"/>
                <a:gd name="T3" fmla="*/ 0 h 120"/>
                <a:gd name="T4" fmla="*/ 0 w 19"/>
                <a:gd name="T5" fmla="*/ 2147483647 h 120"/>
                <a:gd name="T6" fmla="*/ 0 w 19"/>
                <a:gd name="T7" fmla="*/ 2147483647 h 120"/>
                <a:gd name="T8" fmla="*/ 2147483647 w 19"/>
                <a:gd name="T9" fmla="*/ 2147483647 h 120"/>
                <a:gd name="T10" fmla="*/ 2147483647 w 19"/>
                <a:gd name="T11" fmla="*/ 2147483647 h 120"/>
                <a:gd name="T12" fmla="*/ 2147483647 w 19"/>
                <a:gd name="T13" fmla="*/ 2147483647 h 1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120"/>
                <a:gd name="T23" fmla="*/ 19 w 19"/>
                <a:gd name="T24" fmla="*/ 120 h 1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140"/>
            <p:cNvSpPr>
              <a:spLocks/>
            </p:cNvSpPr>
            <p:nvPr/>
          </p:nvSpPr>
          <p:spPr bwMode="auto">
            <a:xfrm>
              <a:off x="1085" y="2797"/>
              <a:ext cx="52" cy="176"/>
            </a:xfrm>
            <a:custGeom>
              <a:avLst/>
              <a:gdLst>
                <a:gd name="T0" fmla="*/ 2147483647 w 19"/>
                <a:gd name="T1" fmla="*/ 2147483647 h 65"/>
                <a:gd name="T2" fmla="*/ 2147483647 w 19"/>
                <a:gd name="T3" fmla="*/ 0 h 65"/>
                <a:gd name="T4" fmla="*/ 0 w 19"/>
                <a:gd name="T5" fmla="*/ 2147483647 h 65"/>
                <a:gd name="T6" fmla="*/ 0 w 19"/>
                <a:gd name="T7" fmla="*/ 2147483647 h 65"/>
                <a:gd name="T8" fmla="*/ 2147483647 w 19"/>
                <a:gd name="T9" fmla="*/ 2147483647 h 65"/>
                <a:gd name="T10" fmla="*/ 2147483647 w 19"/>
                <a:gd name="T11" fmla="*/ 2147483647 h 65"/>
                <a:gd name="T12" fmla="*/ 2147483647 w 19"/>
                <a:gd name="T13" fmla="*/ 2147483647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65"/>
                <a:gd name="T23" fmla="*/ 19 w 19"/>
                <a:gd name="T24" fmla="*/ 65 h 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141"/>
            <p:cNvSpPr>
              <a:spLocks/>
            </p:cNvSpPr>
            <p:nvPr/>
          </p:nvSpPr>
          <p:spPr bwMode="auto">
            <a:xfrm>
              <a:off x="1225" y="2868"/>
              <a:ext cx="55" cy="105"/>
            </a:xfrm>
            <a:custGeom>
              <a:avLst/>
              <a:gdLst>
                <a:gd name="T0" fmla="*/ 2147483647 w 20"/>
                <a:gd name="T1" fmla="*/ 2147483647 h 39"/>
                <a:gd name="T2" fmla="*/ 2147483647 w 20"/>
                <a:gd name="T3" fmla="*/ 0 h 39"/>
                <a:gd name="T4" fmla="*/ 0 w 20"/>
                <a:gd name="T5" fmla="*/ 2147483647 h 39"/>
                <a:gd name="T6" fmla="*/ 0 w 20"/>
                <a:gd name="T7" fmla="*/ 2147483647 h 39"/>
                <a:gd name="T8" fmla="*/ 2147483647 w 20"/>
                <a:gd name="T9" fmla="*/ 2147483647 h 39"/>
                <a:gd name="T10" fmla="*/ 2147483647 w 20"/>
                <a:gd name="T11" fmla="*/ 2147483647 h 39"/>
                <a:gd name="T12" fmla="*/ 2147483647 w 20"/>
                <a:gd name="T13" fmla="*/ 2147483647 h 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39"/>
                <a:gd name="T23" fmla="*/ 20 w 20"/>
                <a:gd name="T24" fmla="*/ 39 h 3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142"/>
            <p:cNvSpPr>
              <a:spLocks/>
            </p:cNvSpPr>
            <p:nvPr/>
          </p:nvSpPr>
          <p:spPr bwMode="auto">
            <a:xfrm>
              <a:off x="1368" y="2797"/>
              <a:ext cx="52" cy="176"/>
            </a:xfrm>
            <a:custGeom>
              <a:avLst/>
              <a:gdLst>
                <a:gd name="T0" fmla="*/ 2147483647 w 19"/>
                <a:gd name="T1" fmla="*/ 2147483647 h 65"/>
                <a:gd name="T2" fmla="*/ 2147483647 w 19"/>
                <a:gd name="T3" fmla="*/ 0 h 65"/>
                <a:gd name="T4" fmla="*/ 0 w 19"/>
                <a:gd name="T5" fmla="*/ 2147483647 h 65"/>
                <a:gd name="T6" fmla="*/ 0 w 19"/>
                <a:gd name="T7" fmla="*/ 2147483647 h 65"/>
                <a:gd name="T8" fmla="*/ 2147483647 w 19"/>
                <a:gd name="T9" fmla="*/ 2147483647 h 65"/>
                <a:gd name="T10" fmla="*/ 2147483647 w 19"/>
                <a:gd name="T11" fmla="*/ 2147483647 h 65"/>
                <a:gd name="T12" fmla="*/ 2147483647 w 19"/>
                <a:gd name="T13" fmla="*/ 2147483647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65"/>
                <a:gd name="T23" fmla="*/ 19 w 19"/>
                <a:gd name="T24" fmla="*/ 65 h 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143"/>
            <p:cNvSpPr>
              <a:spLocks/>
            </p:cNvSpPr>
            <p:nvPr/>
          </p:nvSpPr>
          <p:spPr bwMode="auto">
            <a:xfrm>
              <a:off x="1511" y="2700"/>
              <a:ext cx="52" cy="324"/>
            </a:xfrm>
            <a:custGeom>
              <a:avLst/>
              <a:gdLst>
                <a:gd name="T0" fmla="*/ 2147483647 w 19"/>
                <a:gd name="T1" fmla="*/ 2147483647 h 120"/>
                <a:gd name="T2" fmla="*/ 2147483647 w 19"/>
                <a:gd name="T3" fmla="*/ 0 h 120"/>
                <a:gd name="T4" fmla="*/ 0 w 19"/>
                <a:gd name="T5" fmla="*/ 2147483647 h 120"/>
                <a:gd name="T6" fmla="*/ 0 w 19"/>
                <a:gd name="T7" fmla="*/ 2147483647 h 120"/>
                <a:gd name="T8" fmla="*/ 2147483647 w 19"/>
                <a:gd name="T9" fmla="*/ 2147483647 h 120"/>
                <a:gd name="T10" fmla="*/ 2147483647 w 19"/>
                <a:gd name="T11" fmla="*/ 2147483647 h 120"/>
                <a:gd name="T12" fmla="*/ 2147483647 w 19"/>
                <a:gd name="T13" fmla="*/ 2147483647 h 1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120"/>
                <a:gd name="T23" fmla="*/ 19 w 19"/>
                <a:gd name="T24" fmla="*/ 120 h 1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44"/>
            <p:cNvSpPr>
              <a:spLocks/>
            </p:cNvSpPr>
            <p:nvPr/>
          </p:nvSpPr>
          <p:spPr bwMode="auto">
            <a:xfrm>
              <a:off x="1652" y="2797"/>
              <a:ext cx="51" cy="176"/>
            </a:xfrm>
            <a:custGeom>
              <a:avLst/>
              <a:gdLst>
                <a:gd name="T0" fmla="*/ 2147483647 w 19"/>
                <a:gd name="T1" fmla="*/ 2147483647 h 65"/>
                <a:gd name="T2" fmla="*/ 2147483647 w 19"/>
                <a:gd name="T3" fmla="*/ 0 h 65"/>
                <a:gd name="T4" fmla="*/ 0 w 19"/>
                <a:gd name="T5" fmla="*/ 2147483647 h 65"/>
                <a:gd name="T6" fmla="*/ 0 w 19"/>
                <a:gd name="T7" fmla="*/ 2147483647 h 65"/>
                <a:gd name="T8" fmla="*/ 2147483647 w 19"/>
                <a:gd name="T9" fmla="*/ 2147483647 h 65"/>
                <a:gd name="T10" fmla="*/ 2147483647 w 19"/>
                <a:gd name="T11" fmla="*/ 2147483647 h 65"/>
                <a:gd name="T12" fmla="*/ 2147483647 w 19"/>
                <a:gd name="T13" fmla="*/ 2147483647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65"/>
                <a:gd name="T23" fmla="*/ 19 w 19"/>
                <a:gd name="T24" fmla="*/ 65 h 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145"/>
            <p:cNvSpPr>
              <a:spLocks/>
            </p:cNvSpPr>
            <p:nvPr/>
          </p:nvSpPr>
          <p:spPr bwMode="auto">
            <a:xfrm>
              <a:off x="1795" y="2868"/>
              <a:ext cx="51" cy="105"/>
            </a:xfrm>
            <a:custGeom>
              <a:avLst/>
              <a:gdLst>
                <a:gd name="T0" fmla="*/ 2147483647 w 19"/>
                <a:gd name="T1" fmla="*/ 2147483647 h 39"/>
                <a:gd name="T2" fmla="*/ 2147483647 w 19"/>
                <a:gd name="T3" fmla="*/ 0 h 39"/>
                <a:gd name="T4" fmla="*/ 0 w 19"/>
                <a:gd name="T5" fmla="*/ 2147483647 h 39"/>
                <a:gd name="T6" fmla="*/ 0 w 19"/>
                <a:gd name="T7" fmla="*/ 2147483647 h 39"/>
                <a:gd name="T8" fmla="*/ 2147483647 w 19"/>
                <a:gd name="T9" fmla="*/ 2147483647 h 39"/>
                <a:gd name="T10" fmla="*/ 2147483647 w 19"/>
                <a:gd name="T11" fmla="*/ 2147483647 h 39"/>
                <a:gd name="T12" fmla="*/ 2147483647 w 19"/>
                <a:gd name="T13" fmla="*/ 2147483647 h 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39"/>
                <a:gd name="T23" fmla="*/ 19 w 19"/>
                <a:gd name="T24" fmla="*/ 39 h 3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405779" y="1229100"/>
            <a:ext cx="7262407" cy="3364787"/>
            <a:chOff x="405778" y="1229096"/>
            <a:chExt cx="7262415" cy="3364787"/>
          </a:xfrm>
        </p:grpSpPr>
        <p:sp>
          <p:nvSpPr>
            <p:cNvPr id="2055" name="Freeform 17"/>
            <p:cNvSpPr>
              <a:spLocks/>
            </p:cNvSpPr>
            <p:nvPr/>
          </p:nvSpPr>
          <p:spPr bwMode="auto">
            <a:xfrm>
              <a:off x="3601941" y="2043725"/>
              <a:ext cx="4066252" cy="672516"/>
            </a:xfrm>
            <a:custGeom>
              <a:avLst/>
              <a:gdLst>
                <a:gd name="T0" fmla="*/ 514 w 1298"/>
                <a:gd name="T1" fmla="*/ 197 h 207"/>
                <a:gd name="T2" fmla="*/ 208 w 1298"/>
                <a:gd name="T3" fmla="*/ 62 h 207"/>
                <a:gd name="T4" fmla="*/ 1117 w 1298"/>
                <a:gd name="T5" fmla="*/ 200 h 207"/>
                <a:gd name="T6" fmla="*/ 1298 w 1298"/>
                <a:gd name="T7" fmla="*/ 92 h 207"/>
                <a:gd name="T8" fmla="*/ 131 w 1298"/>
                <a:gd name="T9" fmla="*/ 19 h 207"/>
                <a:gd name="T10" fmla="*/ 514 w 1298"/>
                <a:gd name="T11" fmla="*/ 207 h 207"/>
                <a:gd name="T12" fmla="*/ 514 w 1298"/>
                <a:gd name="T13" fmla="*/ 19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8" h="207">
                  <a:moveTo>
                    <a:pt x="514" y="197"/>
                  </a:moveTo>
                  <a:cubicBezTo>
                    <a:pt x="311" y="129"/>
                    <a:pt x="108" y="61"/>
                    <a:pt x="208" y="62"/>
                  </a:cubicBezTo>
                  <a:cubicBezTo>
                    <a:pt x="309" y="62"/>
                    <a:pt x="713" y="131"/>
                    <a:pt x="1117" y="200"/>
                  </a:cubicBezTo>
                  <a:cubicBezTo>
                    <a:pt x="1298" y="92"/>
                    <a:pt x="1298" y="92"/>
                    <a:pt x="1298" y="92"/>
                  </a:cubicBezTo>
                  <a:cubicBezTo>
                    <a:pt x="780" y="46"/>
                    <a:pt x="262" y="0"/>
                    <a:pt x="131" y="19"/>
                  </a:cubicBezTo>
                  <a:cubicBezTo>
                    <a:pt x="0" y="38"/>
                    <a:pt x="257" y="123"/>
                    <a:pt x="514" y="207"/>
                  </a:cubicBezTo>
                  <a:lnTo>
                    <a:pt x="514" y="19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66000">
                  <a:srgbClr val="88AD61">
                    <a:alpha val="35000"/>
                  </a:srgbClr>
                </a:gs>
                <a:gs pos="96000">
                  <a:schemeClr val="bg1">
                    <a:alpha val="0"/>
                  </a:schemeClr>
                </a:gs>
              </a:gsLst>
              <a:lin ang="3600000" scaled="0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3176"/>
              <a:endParaRPr lang="en-US" kern="0">
                <a:solidFill>
                  <a:srgbClr val="FFFFFF"/>
                </a:solidFill>
                <a:latin typeface="Helvetica" pitchFamily="34" charset="0"/>
              </a:endParaRPr>
            </a:p>
          </p:txBody>
        </p:sp>
        <p:sp>
          <p:nvSpPr>
            <p:cNvPr id="53" name="Freeform 10"/>
            <p:cNvSpPr>
              <a:spLocks/>
            </p:cNvSpPr>
            <p:nvPr/>
          </p:nvSpPr>
          <p:spPr bwMode="auto">
            <a:xfrm>
              <a:off x="2143647" y="2671875"/>
              <a:ext cx="2889529" cy="1435043"/>
            </a:xfrm>
            <a:custGeom>
              <a:avLst/>
              <a:gdLst>
                <a:gd name="T0" fmla="*/ 845 w 847"/>
                <a:gd name="T1" fmla="*/ 101 h 471"/>
                <a:gd name="T2" fmla="*/ 136 w 847"/>
                <a:gd name="T3" fmla="*/ 103 h 471"/>
                <a:gd name="T4" fmla="*/ 777 w 847"/>
                <a:gd name="T5" fmla="*/ 471 h 471"/>
                <a:gd name="T6" fmla="*/ 436 w 847"/>
                <a:gd name="T7" fmla="*/ 460 h 471"/>
                <a:gd name="T8" fmla="*/ 69 w 847"/>
                <a:gd name="T9" fmla="*/ 62 h 471"/>
                <a:gd name="T10" fmla="*/ 847 w 847"/>
                <a:gd name="T11" fmla="*/ 92 h 471"/>
                <a:gd name="T12" fmla="*/ 845 w 847"/>
                <a:gd name="T13" fmla="*/ 10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7" h="471">
                  <a:moveTo>
                    <a:pt x="845" y="101"/>
                  </a:moveTo>
                  <a:cubicBezTo>
                    <a:pt x="496" y="71"/>
                    <a:pt x="147" y="42"/>
                    <a:pt x="136" y="103"/>
                  </a:cubicBezTo>
                  <a:cubicBezTo>
                    <a:pt x="125" y="165"/>
                    <a:pt x="451" y="318"/>
                    <a:pt x="777" y="471"/>
                  </a:cubicBezTo>
                  <a:cubicBezTo>
                    <a:pt x="436" y="460"/>
                    <a:pt x="436" y="460"/>
                    <a:pt x="436" y="460"/>
                  </a:cubicBezTo>
                  <a:cubicBezTo>
                    <a:pt x="218" y="292"/>
                    <a:pt x="0" y="123"/>
                    <a:pt x="69" y="62"/>
                  </a:cubicBezTo>
                  <a:cubicBezTo>
                    <a:pt x="138" y="0"/>
                    <a:pt x="492" y="46"/>
                    <a:pt x="847" y="92"/>
                  </a:cubicBezTo>
                  <a:lnTo>
                    <a:pt x="845" y="10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66000">
                  <a:schemeClr val="tx2">
                    <a:lumMod val="60000"/>
                    <a:lumOff val="40000"/>
                    <a:alpha val="89000"/>
                  </a:schemeClr>
                </a:gs>
                <a:gs pos="9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3176"/>
              <a:endParaRPr lang="en-US" kern="0">
                <a:solidFill>
                  <a:srgbClr val="FFFFFF"/>
                </a:solidFill>
                <a:latin typeface="Helvetica" pitchFamily="34" charset="0"/>
              </a:endParaRPr>
            </a:p>
          </p:txBody>
        </p:sp>
        <p:grpSp>
          <p:nvGrpSpPr>
            <p:cNvPr id="2063" name="Group 2062"/>
            <p:cNvGrpSpPr/>
            <p:nvPr/>
          </p:nvGrpSpPr>
          <p:grpSpPr>
            <a:xfrm>
              <a:off x="1245277" y="1890531"/>
              <a:ext cx="3921646" cy="852669"/>
              <a:chOff x="1245277" y="1890531"/>
              <a:chExt cx="3921646" cy="852669"/>
            </a:xfrm>
          </p:grpSpPr>
          <p:sp>
            <p:nvSpPr>
              <p:cNvPr id="49" name="Freeform 6"/>
              <p:cNvSpPr>
                <a:spLocks/>
              </p:cNvSpPr>
              <p:nvPr/>
            </p:nvSpPr>
            <p:spPr bwMode="auto">
              <a:xfrm>
                <a:off x="1407226" y="1890531"/>
                <a:ext cx="3759697" cy="852669"/>
              </a:xfrm>
              <a:custGeom>
                <a:avLst/>
                <a:gdLst>
                  <a:gd name="T0" fmla="*/ 1128 w 1128"/>
                  <a:gd name="T1" fmla="*/ 285 h 285"/>
                  <a:gd name="T2" fmla="*/ 684 w 1128"/>
                  <a:gd name="T3" fmla="*/ 207 h 285"/>
                  <a:gd name="T4" fmla="*/ 208 w 1128"/>
                  <a:gd name="T5" fmla="*/ 257 h 285"/>
                  <a:gd name="T6" fmla="*/ 0 w 1128"/>
                  <a:gd name="T7" fmla="*/ 29 h 285"/>
                  <a:gd name="T8" fmla="*/ 410 w 1128"/>
                  <a:gd name="T9" fmla="*/ 41 h 285"/>
                  <a:gd name="T10" fmla="*/ 1128 w 1128"/>
                  <a:gd name="T11" fmla="*/ 280 h 285"/>
                  <a:gd name="T12" fmla="*/ 1128 w 1128"/>
                  <a:gd name="T13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8" h="285">
                    <a:moveTo>
                      <a:pt x="1128" y="285"/>
                    </a:moveTo>
                    <a:cubicBezTo>
                      <a:pt x="983" y="248"/>
                      <a:pt x="838" y="211"/>
                      <a:pt x="684" y="207"/>
                    </a:cubicBezTo>
                    <a:cubicBezTo>
                      <a:pt x="531" y="202"/>
                      <a:pt x="369" y="230"/>
                      <a:pt x="208" y="257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115" y="24"/>
                      <a:pt x="222" y="0"/>
                      <a:pt x="410" y="41"/>
                    </a:cubicBezTo>
                    <a:cubicBezTo>
                      <a:pt x="598" y="82"/>
                      <a:pt x="863" y="201"/>
                      <a:pt x="1128" y="280"/>
                    </a:cubicBezTo>
                    <a:lnTo>
                      <a:pt x="1128" y="28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27000">
                    <a:srgbClr val="00A8FF">
                      <a:alpha val="16000"/>
                    </a:srgbClr>
                  </a:gs>
                  <a:gs pos="88000">
                    <a:schemeClr val="bg1">
                      <a:alpha val="0"/>
                    </a:schemeClr>
                  </a:gs>
                </a:gsLst>
                <a:lin ang="8400000" scaled="0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3176"/>
                <a:endParaRPr lang="en-US" kern="0">
                  <a:solidFill>
                    <a:srgbClr val="FFFFFF"/>
                  </a:solidFill>
                  <a:latin typeface="Helvetica" pitchFamily="34" charset="0"/>
                </a:endParaRPr>
              </a:p>
            </p:txBody>
          </p:sp>
          <p:pic>
            <p:nvPicPr>
              <p:cNvPr id="27" name="Picture 4"/>
              <p:cNvPicPr>
                <a:picLocks noChangeAspect="1" noChangeArrowheads="1"/>
              </p:cNvPicPr>
              <p:nvPr/>
            </p:nvPicPr>
            <p:blipFill>
              <a:blip r:embed="rId4" cstate="email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2094532">
                <a:off x="1245277" y="2207159"/>
                <a:ext cx="1149026" cy="141108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177800" sx="107000" sy="107000" algn="ctr" rotWithShape="0">
                  <a:schemeClr val="accent1">
                    <a:lumMod val="75000"/>
                  </a:schemeClr>
                </a:outerShdw>
              </a:effectLst>
              <a:scene3d>
                <a:camera prst="isometricOffAxis2Left"/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056" name="Freeform 18"/>
            <p:cNvSpPr>
              <a:spLocks/>
            </p:cNvSpPr>
            <p:nvPr/>
          </p:nvSpPr>
          <p:spPr bwMode="auto">
            <a:xfrm>
              <a:off x="2905471" y="2733636"/>
              <a:ext cx="2032289" cy="368064"/>
            </a:xfrm>
            <a:custGeom>
              <a:avLst/>
              <a:gdLst>
                <a:gd name="T0" fmla="*/ 596 w 596"/>
                <a:gd name="T1" fmla="*/ 103 h 108"/>
                <a:gd name="T2" fmla="*/ 290 w 596"/>
                <a:gd name="T3" fmla="*/ 28 h 108"/>
                <a:gd name="T4" fmla="*/ 0 w 596"/>
                <a:gd name="T5" fmla="*/ 0 h 108"/>
                <a:gd name="T6" fmla="*/ 82 w 596"/>
                <a:gd name="T7" fmla="*/ 93 h 108"/>
                <a:gd name="T8" fmla="*/ 313 w 596"/>
                <a:gd name="T9" fmla="*/ 75 h 108"/>
                <a:gd name="T10" fmla="*/ 586 w 596"/>
                <a:gd name="T11" fmla="*/ 108 h 108"/>
                <a:gd name="T12" fmla="*/ 596 w 596"/>
                <a:gd name="T13" fmla="*/ 10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6" h="108">
                  <a:moveTo>
                    <a:pt x="596" y="103"/>
                  </a:moveTo>
                  <a:cubicBezTo>
                    <a:pt x="493" y="74"/>
                    <a:pt x="390" y="45"/>
                    <a:pt x="290" y="28"/>
                  </a:cubicBezTo>
                  <a:cubicBezTo>
                    <a:pt x="191" y="11"/>
                    <a:pt x="95" y="5"/>
                    <a:pt x="0" y="0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156" y="82"/>
                    <a:pt x="229" y="72"/>
                    <a:pt x="313" y="75"/>
                  </a:cubicBezTo>
                  <a:cubicBezTo>
                    <a:pt x="397" y="77"/>
                    <a:pt x="491" y="93"/>
                    <a:pt x="586" y="108"/>
                  </a:cubicBezTo>
                  <a:lnTo>
                    <a:pt x="596" y="103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66000">
                  <a:schemeClr val="tx2">
                    <a:lumMod val="60000"/>
                    <a:lumOff val="40000"/>
                    <a:alpha val="46000"/>
                  </a:schemeClr>
                </a:gs>
                <a:gs pos="88000">
                  <a:schemeClr val="bg1">
                    <a:alpha val="0"/>
                  </a:schemeClr>
                </a:gs>
              </a:gsLst>
              <a:lin ang="8400000" scaled="0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3176"/>
              <a:endParaRPr lang="en-US" kern="0">
                <a:solidFill>
                  <a:srgbClr val="FFFFFF"/>
                </a:solidFill>
                <a:latin typeface="Helvetica" pitchFamily="34" charset="0"/>
              </a:endParaRPr>
            </a:p>
          </p:txBody>
        </p:sp>
        <p:sp>
          <p:nvSpPr>
            <p:cNvPr id="52" name="Freeform 9"/>
            <p:cNvSpPr>
              <a:spLocks/>
            </p:cNvSpPr>
            <p:nvPr/>
          </p:nvSpPr>
          <p:spPr bwMode="auto">
            <a:xfrm>
              <a:off x="3514477" y="2705398"/>
              <a:ext cx="2479155" cy="529922"/>
            </a:xfrm>
            <a:custGeom>
              <a:avLst/>
              <a:gdLst>
                <a:gd name="T0" fmla="*/ 494 w 759"/>
                <a:gd name="T1" fmla="*/ 40 h 174"/>
                <a:gd name="T2" fmla="*/ 101 w 759"/>
                <a:gd name="T3" fmla="*/ 32 h 174"/>
                <a:gd name="T4" fmla="*/ 759 w 759"/>
                <a:gd name="T5" fmla="*/ 79 h 174"/>
                <a:gd name="T6" fmla="*/ 653 w 759"/>
                <a:gd name="T7" fmla="*/ 174 h 174"/>
                <a:gd name="T8" fmla="*/ 26 w 759"/>
                <a:gd name="T9" fmla="*/ 23 h 174"/>
                <a:gd name="T10" fmla="*/ 498 w 759"/>
                <a:gd name="T11" fmla="*/ 34 h 174"/>
                <a:gd name="T12" fmla="*/ 494 w 759"/>
                <a:gd name="T13" fmla="*/ 4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9" h="174">
                  <a:moveTo>
                    <a:pt x="494" y="40"/>
                  </a:moveTo>
                  <a:cubicBezTo>
                    <a:pt x="275" y="33"/>
                    <a:pt x="56" y="12"/>
                    <a:pt x="101" y="32"/>
                  </a:cubicBezTo>
                  <a:cubicBezTo>
                    <a:pt x="759" y="79"/>
                    <a:pt x="759" y="79"/>
                    <a:pt x="759" y="79"/>
                  </a:cubicBezTo>
                  <a:cubicBezTo>
                    <a:pt x="653" y="174"/>
                    <a:pt x="653" y="174"/>
                    <a:pt x="653" y="174"/>
                  </a:cubicBezTo>
                  <a:cubicBezTo>
                    <a:pt x="352" y="110"/>
                    <a:pt x="52" y="46"/>
                    <a:pt x="26" y="23"/>
                  </a:cubicBezTo>
                  <a:cubicBezTo>
                    <a:pt x="0" y="0"/>
                    <a:pt x="249" y="17"/>
                    <a:pt x="498" y="34"/>
                  </a:cubicBezTo>
                  <a:lnTo>
                    <a:pt x="494" y="4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66000">
                  <a:srgbClr val="FF0000">
                    <a:alpha val="21000"/>
                  </a:srgbClr>
                </a:gs>
                <a:gs pos="88000">
                  <a:schemeClr val="bg1">
                    <a:alpha val="0"/>
                  </a:schemeClr>
                </a:gs>
              </a:gsLst>
              <a:lin ang="2400000" scaled="0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3176"/>
              <a:endParaRPr lang="en-US" kern="0">
                <a:solidFill>
                  <a:srgbClr val="FFFFFF"/>
                </a:solidFill>
                <a:latin typeface="Helvetica" pitchFamily="34" charset="0"/>
              </a:endParaRPr>
            </a:p>
          </p:txBody>
        </p:sp>
        <p:sp>
          <p:nvSpPr>
            <p:cNvPr id="54" name="Freeform 11"/>
            <p:cNvSpPr>
              <a:spLocks/>
            </p:cNvSpPr>
            <p:nvPr/>
          </p:nvSpPr>
          <p:spPr bwMode="auto">
            <a:xfrm>
              <a:off x="3253921" y="1229096"/>
              <a:ext cx="3855629" cy="1290636"/>
            </a:xfrm>
            <a:custGeom>
              <a:avLst/>
              <a:gdLst>
                <a:gd name="T0" fmla="*/ 607 w 1157"/>
                <a:gd name="T1" fmla="*/ 424 h 424"/>
                <a:gd name="T2" fmla="*/ 215 w 1157"/>
                <a:gd name="T3" fmla="*/ 68 h 424"/>
                <a:gd name="T4" fmla="*/ 1157 w 1157"/>
                <a:gd name="T5" fmla="*/ 158 h 424"/>
                <a:gd name="T6" fmla="*/ 808 w 1157"/>
                <a:gd name="T7" fmla="*/ 355 h 424"/>
                <a:gd name="T8" fmla="*/ 301 w 1157"/>
                <a:gd name="T9" fmla="*/ 188 h 424"/>
                <a:gd name="T10" fmla="*/ 613 w 1157"/>
                <a:gd name="T11" fmla="*/ 419 h 424"/>
                <a:gd name="T12" fmla="*/ 607 w 1157"/>
                <a:gd name="T13" fmla="*/ 424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7" h="424">
                  <a:moveTo>
                    <a:pt x="607" y="424"/>
                  </a:moveTo>
                  <a:cubicBezTo>
                    <a:pt x="365" y="268"/>
                    <a:pt x="0" y="137"/>
                    <a:pt x="215" y="68"/>
                  </a:cubicBezTo>
                  <a:cubicBezTo>
                    <a:pt x="430" y="0"/>
                    <a:pt x="732" y="91"/>
                    <a:pt x="1157" y="158"/>
                  </a:cubicBezTo>
                  <a:cubicBezTo>
                    <a:pt x="808" y="355"/>
                    <a:pt x="808" y="355"/>
                    <a:pt x="808" y="355"/>
                  </a:cubicBezTo>
                  <a:cubicBezTo>
                    <a:pt x="561" y="271"/>
                    <a:pt x="335" y="175"/>
                    <a:pt x="301" y="188"/>
                  </a:cubicBezTo>
                  <a:cubicBezTo>
                    <a:pt x="267" y="201"/>
                    <a:pt x="433" y="310"/>
                    <a:pt x="613" y="419"/>
                  </a:cubicBezTo>
                  <a:lnTo>
                    <a:pt x="607" y="42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47000">
                  <a:srgbClr val="32C5C2">
                    <a:alpha val="28000"/>
                  </a:srgbClr>
                </a:gs>
                <a:gs pos="78000">
                  <a:schemeClr val="bg1">
                    <a:alpha val="0"/>
                  </a:schemeClr>
                </a:gs>
              </a:gsLst>
              <a:lin ang="27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3176"/>
              <a:endParaRPr lang="en-US" kern="0">
                <a:solidFill>
                  <a:srgbClr val="FFFFFF"/>
                </a:solidFill>
                <a:latin typeface="Helvetica" pitchFamily="34" charset="0"/>
              </a:endParaRPr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1748481" y="3334996"/>
              <a:ext cx="2713982" cy="1258887"/>
            </a:xfrm>
            <a:custGeom>
              <a:avLst/>
              <a:gdLst>
                <a:gd name="T0" fmla="*/ 570 w 831"/>
                <a:gd name="T1" fmla="*/ 397 h 397"/>
                <a:gd name="T2" fmla="*/ 270 w 831"/>
                <a:gd name="T3" fmla="*/ 94 h 397"/>
                <a:gd name="T4" fmla="*/ 831 w 831"/>
                <a:gd name="T5" fmla="*/ 4 h 397"/>
                <a:gd name="T6" fmla="*/ 829 w 831"/>
                <a:gd name="T7" fmla="*/ 0 h 397"/>
                <a:gd name="T8" fmla="*/ 95 w 831"/>
                <a:gd name="T9" fmla="*/ 72 h 397"/>
                <a:gd name="T10" fmla="*/ 258 w 831"/>
                <a:gd name="T11" fmla="*/ 393 h 397"/>
                <a:gd name="T12" fmla="*/ 570 w 831"/>
                <a:gd name="T13" fmla="*/ 397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1" h="397">
                  <a:moveTo>
                    <a:pt x="570" y="397"/>
                  </a:moveTo>
                  <a:cubicBezTo>
                    <a:pt x="398" y="278"/>
                    <a:pt x="227" y="159"/>
                    <a:pt x="270" y="94"/>
                  </a:cubicBezTo>
                  <a:cubicBezTo>
                    <a:pt x="314" y="28"/>
                    <a:pt x="572" y="16"/>
                    <a:pt x="831" y="4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509" y="4"/>
                    <a:pt x="190" y="7"/>
                    <a:pt x="95" y="72"/>
                  </a:cubicBezTo>
                  <a:cubicBezTo>
                    <a:pt x="0" y="138"/>
                    <a:pt x="129" y="266"/>
                    <a:pt x="258" y="393"/>
                  </a:cubicBezTo>
                  <a:lnTo>
                    <a:pt x="570" y="39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597040">
                    <a:alpha val="27000"/>
                  </a:srgbClr>
                </a:gs>
                <a:gs pos="66000">
                  <a:srgbClr val="88AD61">
                    <a:alpha val="38000"/>
                  </a:srgb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3176"/>
              <a:endParaRPr lang="en-US" kern="0">
                <a:solidFill>
                  <a:srgbClr val="FFFFFF"/>
                </a:solidFill>
                <a:latin typeface="Helvetica" pitchFamily="34" charset="0"/>
              </a:endParaRPr>
            </a:p>
          </p:txBody>
        </p:sp>
        <p:sp>
          <p:nvSpPr>
            <p:cNvPr id="35" name="Freeform 7"/>
            <p:cNvSpPr>
              <a:spLocks/>
            </p:cNvSpPr>
            <p:nvPr/>
          </p:nvSpPr>
          <p:spPr bwMode="auto">
            <a:xfrm>
              <a:off x="936625" y="2971800"/>
              <a:ext cx="3598863" cy="722786"/>
            </a:xfrm>
            <a:custGeom>
              <a:avLst/>
              <a:gdLst>
                <a:gd name="T0" fmla="*/ 189 w 1129"/>
                <a:gd name="T1" fmla="*/ 244 h 244"/>
                <a:gd name="T2" fmla="*/ 501 w 1129"/>
                <a:gd name="T3" fmla="*/ 61 h 244"/>
                <a:gd name="T4" fmla="*/ 1127 w 1129"/>
                <a:gd name="T5" fmla="*/ 81 h 244"/>
                <a:gd name="T6" fmla="*/ 1127 w 1129"/>
                <a:gd name="T7" fmla="*/ 81 h 244"/>
                <a:gd name="T8" fmla="*/ 1129 w 1129"/>
                <a:gd name="T9" fmla="*/ 76 h 244"/>
                <a:gd name="T10" fmla="*/ 446 w 1129"/>
                <a:gd name="T11" fmla="*/ 16 h 244"/>
                <a:gd name="T12" fmla="*/ 0 w 1129"/>
                <a:gd name="T13" fmla="*/ 173 h 244"/>
                <a:gd name="T14" fmla="*/ 189 w 1129"/>
                <a:gd name="T15" fmla="*/ 24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9" h="244">
                  <a:moveTo>
                    <a:pt x="189" y="244"/>
                  </a:moveTo>
                  <a:cubicBezTo>
                    <a:pt x="266" y="171"/>
                    <a:pt x="346" y="93"/>
                    <a:pt x="501" y="61"/>
                  </a:cubicBezTo>
                  <a:cubicBezTo>
                    <a:pt x="702" y="20"/>
                    <a:pt x="1127" y="81"/>
                    <a:pt x="1127" y="81"/>
                  </a:cubicBezTo>
                  <a:cubicBezTo>
                    <a:pt x="1127" y="81"/>
                    <a:pt x="1127" y="81"/>
                    <a:pt x="1127" y="81"/>
                  </a:cubicBezTo>
                  <a:cubicBezTo>
                    <a:pt x="1129" y="76"/>
                    <a:pt x="1129" y="76"/>
                    <a:pt x="1129" y="76"/>
                  </a:cubicBezTo>
                  <a:cubicBezTo>
                    <a:pt x="882" y="38"/>
                    <a:pt x="634" y="0"/>
                    <a:pt x="446" y="16"/>
                  </a:cubicBezTo>
                  <a:cubicBezTo>
                    <a:pt x="258" y="32"/>
                    <a:pt x="129" y="103"/>
                    <a:pt x="0" y="173"/>
                  </a:cubicBezTo>
                  <a:lnTo>
                    <a:pt x="189" y="24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73000">
                  <a:srgbClr val="FF0000">
                    <a:alpha val="21000"/>
                  </a:srgbClr>
                </a:gs>
                <a:gs pos="95000">
                  <a:schemeClr val="bg1">
                    <a:alpha val="0"/>
                  </a:schemeClr>
                </a:gs>
              </a:gsLst>
              <a:lin ang="6600000" scaled="0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3176"/>
              <a:endParaRPr lang="en-US" kern="0">
                <a:solidFill>
                  <a:srgbClr val="FFFFFF"/>
                </a:solidFill>
                <a:latin typeface="Helvetica" pitchFamily="34" charset="0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 rot="865826">
              <a:off x="405778" y="3401429"/>
              <a:ext cx="2188591" cy="346249"/>
            </a:xfrm>
            <a:prstGeom prst="rect">
              <a:avLst/>
            </a:prstGeom>
            <a:noFill/>
            <a:scene3d>
              <a:camera prst="perspectiveHeroicExtremeRightFacing">
                <a:rot lat="487347" lon="21000000" rev="174516"/>
              </a:camera>
              <a:lightRig rig="threePt" dir="t"/>
            </a:scene3d>
          </p:spPr>
          <p:txBody>
            <a:bodyPr wrap="square" rtlCol="0" anchor="ctr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2400" b="1" dirty="0">
                  <a:solidFill>
                    <a:srgbClr val="CCFFCC"/>
                  </a:solidFill>
                  <a:latin typeface="CiscoSansTT" panose="020B0503020201020303" pitchFamily="34" charset="0"/>
                </a:rPr>
                <a:t>Process</a:t>
              </a:r>
            </a:p>
          </p:txBody>
        </p:sp>
      </p:grpSp>
      <p:grpSp>
        <p:nvGrpSpPr>
          <p:cNvPr id="2068" name="Group 2067"/>
          <p:cNvGrpSpPr/>
          <p:nvPr/>
        </p:nvGrpSpPr>
        <p:grpSpPr>
          <a:xfrm>
            <a:off x="-9084" y="736801"/>
            <a:ext cx="9144000" cy="2449616"/>
            <a:chOff x="-161513" y="783813"/>
            <a:chExt cx="9144000" cy="2726907"/>
          </a:xfrm>
        </p:grpSpPr>
        <p:sp>
          <p:nvSpPr>
            <p:cNvPr id="128" name="Rectangle 127"/>
            <p:cNvSpPr/>
            <p:nvPr/>
          </p:nvSpPr>
          <p:spPr>
            <a:xfrm flipH="1">
              <a:off x="-161513" y="910824"/>
              <a:ext cx="9144000" cy="2599896"/>
            </a:xfrm>
            <a:prstGeom prst="rect">
              <a:avLst/>
            </a:prstGeom>
            <a:gradFill flip="none" rotWithShape="1">
              <a:gsLst>
                <a:gs pos="27000">
                  <a:schemeClr val="accent2">
                    <a:alpha val="0"/>
                  </a:schemeClr>
                </a:gs>
                <a:gs pos="85000">
                  <a:schemeClr val="accent1">
                    <a:lumMod val="75000"/>
                  </a:schemeClr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29" name="Title 1"/>
            <p:cNvSpPr txBox="1">
              <a:spLocks/>
            </p:cNvSpPr>
            <p:nvPr/>
          </p:nvSpPr>
          <p:spPr>
            <a:xfrm>
              <a:off x="-25404" y="783813"/>
              <a:ext cx="8612297" cy="2569946"/>
            </a:xfrm>
            <a:prstGeom prst="rect">
              <a:avLst/>
            </a:prstGeom>
          </p:spPr>
          <p:txBody>
            <a:bodyPr vert="horz" lIns="91440" tIns="45720" rIns="91440" bIns="45720" rtlCol="0" anchor="ctr" anchorCtr="0">
              <a:noAutofit/>
            </a:bodyPr>
            <a:lstStyle>
              <a:lvl1pPr algn="ctr" defTabSz="685891" rtl="0" eaLnBrk="1" latinLnBrk="0" hangingPunct="1">
                <a:lnSpc>
                  <a:spcPts val="2500"/>
                </a:lnSpc>
                <a:spcBef>
                  <a:spcPct val="0"/>
                </a:spcBef>
                <a:buNone/>
                <a:defRPr lang="en-US" sz="2500" b="0" kern="1200" spc="0" baseline="0" dirty="0">
                  <a:solidFill>
                    <a:schemeClr val="bg1"/>
                  </a:solidFill>
                  <a:latin typeface="+mj-lt"/>
                  <a:ea typeface="+mj-ea"/>
                  <a:cs typeface="CiscoSans"/>
                </a:defRPr>
              </a:lvl1pPr>
            </a:lstStyle>
            <a:p>
              <a:pPr algn="l">
                <a:lnSpc>
                  <a:spcPct val="90000"/>
                </a:lnSpc>
              </a:pPr>
              <a:r>
                <a:rPr lang="en-US" sz="3300" dirty="0">
                  <a:solidFill>
                    <a:srgbClr val="FEB126"/>
                  </a:solidFill>
                  <a:cs typeface="CiscoSans Thin"/>
                </a:rPr>
                <a:t>Transform the development process at Cisco to enable high performance teams </a:t>
              </a:r>
            </a:p>
            <a:p>
              <a:pPr algn="l">
                <a:lnSpc>
                  <a:spcPct val="90000"/>
                </a:lnSpc>
              </a:pPr>
              <a:r>
                <a:rPr lang="en-US" sz="3300" dirty="0">
                  <a:solidFill>
                    <a:srgbClr val="FEB126"/>
                  </a:solidFill>
                  <a:cs typeface="CiscoSans Thin"/>
                </a:rPr>
                <a:t>to build high-quality products</a:t>
              </a:r>
            </a:p>
          </p:txBody>
        </p:sp>
      </p:grpSp>
      <p:sp>
        <p:nvSpPr>
          <p:cNvPr id="46" name="TextBox 45"/>
          <p:cNvSpPr txBox="1"/>
          <p:nvPr/>
        </p:nvSpPr>
        <p:spPr>
          <a:xfrm rot="218333">
            <a:off x="5644167" y="2649201"/>
            <a:ext cx="3168677" cy="533477"/>
          </a:xfrm>
          <a:prstGeom prst="rect">
            <a:avLst/>
          </a:prstGeom>
          <a:noFill/>
          <a:scene3d>
            <a:camera prst="perspectiveHeroicExtremeRightFacing">
              <a:rot lat="487347" lon="21000000" rev="174516"/>
            </a:camera>
            <a:lightRig rig="threePt" dir="t"/>
          </a:scene3d>
        </p:spPr>
        <p:txBody>
          <a:bodyPr wrap="square" lIns="68577" tIns="34289" rIns="68577" bIns="34289" rtlCol="0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600" dirty="0">
                <a:solidFill>
                  <a:schemeClr val="bg1"/>
                </a:solidFill>
                <a:latin typeface="CiscoSansTT" panose="020B0503020201020303" pitchFamily="34" charset="0"/>
              </a:rPr>
              <a:t>Unleashing Engineering’s full potential </a:t>
            </a:r>
            <a:r>
              <a:rPr lang="en-US" sz="1600" dirty="0" smtClean="0">
                <a:solidFill>
                  <a:schemeClr val="bg1"/>
                </a:solidFill>
                <a:latin typeface="CiscoSansTT" panose="020B0503020201020303" pitchFamily="34" charset="0"/>
              </a:rPr>
              <a:t> </a:t>
            </a:r>
            <a:endParaRPr lang="en-US" sz="1600" dirty="0">
              <a:solidFill>
                <a:schemeClr val="bg1"/>
              </a:solidFill>
              <a:latin typeface="CiscoSansTT" panose="020B0503020201020303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 rot="346681">
            <a:off x="1593389" y="4238588"/>
            <a:ext cx="2188591" cy="323165"/>
          </a:xfrm>
          <a:prstGeom prst="rect">
            <a:avLst/>
          </a:prstGeom>
          <a:noFill/>
          <a:scene3d>
            <a:camera prst="perspectiveHeroicExtremeRightFacing">
              <a:rot lat="487347" lon="21000000" rev="174516"/>
            </a:camera>
            <a:lightRig rig="threePt" dir="t"/>
          </a:scene3d>
        </p:spPr>
        <p:txBody>
          <a:bodyPr wrap="square" lIns="68577" tIns="34289" rIns="68577" bIns="34289" rtlCol="0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2400" b="1" dirty="0">
                <a:solidFill>
                  <a:srgbClr val="CCFFCC"/>
                </a:solidFill>
                <a:latin typeface="CiscoSansTT" panose="020B0503020201020303" pitchFamily="34" charset="0"/>
              </a:rPr>
              <a:t>Teams</a:t>
            </a:r>
          </a:p>
        </p:txBody>
      </p:sp>
      <p:sp>
        <p:nvSpPr>
          <p:cNvPr id="50" name="TextBox 49"/>
          <p:cNvSpPr txBox="1"/>
          <p:nvPr/>
        </p:nvSpPr>
        <p:spPr>
          <a:xfrm rot="20773945">
            <a:off x="2817178" y="3460725"/>
            <a:ext cx="2188591" cy="323165"/>
          </a:xfrm>
          <a:prstGeom prst="rect">
            <a:avLst/>
          </a:prstGeom>
          <a:noFill/>
          <a:scene3d>
            <a:camera prst="perspectiveHeroicExtremeRightFacing">
              <a:rot lat="487347" lon="21000000" rev="174516"/>
            </a:camera>
            <a:lightRig rig="threePt" dir="t"/>
          </a:scene3d>
        </p:spPr>
        <p:txBody>
          <a:bodyPr wrap="square" lIns="68577" tIns="34289" rIns="68577" bIns="34289" rtlCol="0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2400" b="1" dirty="0">
                <a:solidFill>
                  <a:srgbClr val="CCFFCC"/>
                </a:solidFill>
                <a:latin typeface="CiscoSansTT" panose="020B0503020201020303" pitchFamily="34" charset="0"/>
              </a:rPr>
              <a:t>Tools</a:t>
            </a:r>
          </a:p>
        </p:txBody>
      </p:sp>
    </p:spTree>
    <p:extLst>
      <p:ext uri="{BB962C8B-B14F-4D97-AF65-F5344CB8AC3E}">
        <p14:creationId xmlns:p14="http://schemas.microsoft.com/office/powerpoint/2010/main" val="670225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 rot="19676862">
            <a:off x="452422" y="1614566"/>
            <a:ext cx="2291623" cy="2123658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 rtlCol="0">
            <a:spAutoFit/>
          </a:bodyPr>
          <a:lstStyle/>
          <a:p>
            <a:pPr algn="ctr"/>
            <a:r>
              <a:rPr lang="en-US" sz="4400" b="1" dirty="0" smtClean="0"/>
              <a:t>Process &amp; Policie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6910" y="474133"/>
            <a:ext cx="5876989" cy="4113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39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" name="Object 18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78400" y="0"/>
            <a:ext cx="4076700" cy="4892040"/>
          </a:xfrm>
          <a:prstGeom prst="rect">
            <a:avLst/>
          </a:prstGeom>
        </p:spPr>
      </p:pic>
      <p:sp>
        <p:nvSpPr>
          <p:cNvPr id="69" name="TextBox 68"/>
          <p:cNvSpPr txBox="1"/>
          <p:nvPr/>
        </p:nvSpPr>
        <p:spPr>
          <a:xfrm rot="19676862">
            <a:off x="426030" y="1741223"/>
            <a:ext cx="4262299" cy="1938992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45720" tIns="45720" rIns="45720" bIns="45720" rtlCol="0">
            <a:spAutoFit/>
          </a:bodyPr>
          <a:lstStyle/>
          <a:p>
            <a:pPr algn="ctr"/>
            <a:r>
              <a:rPr lang="en-US" sz="6000" b="1" dirty="0" smtClean="0"/>
              <a:t>Human</a:t>
            </a:r>
          </a:p>
          <a:p>
            <a:pPr algn="ctr"/>
            <a:r>
              <a:rPr lang="en-US" sz="6000" b="1" dirty="0" smtClean="0"/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21391675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Case Study Example-</a:t>
            </a:r>
            <a:r>
              <a:rPr lang="en-US" sz="2400" dirty="0">
                <a:latin typeface="Calibri"/>
                <a:cs typeface="Calibri"/>
              </a:rPr>
              <a:t>Cisco Unified Contact Center </a:t>
            </a:r>
            <a:r>
              <a:rPr lang="en-US" sz="2400" dirty="0" smtClean="0">
                <a:latin typeface="Calibri"/>
                <a:cs typeface="Calibri"/>
              </a:rPr>
              <a:t>Enterprise</a:t>
            </a:r>
            <a:endParaRPr lang="en-US" sz="2400" dirty="0"/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7745" y="973246"/>
            <a:ext cx="2561235" cy="502636"/>
          </a:xfrm>
          <a:ln>
            <a:solidFill>
              <a:srgbClr val="FFFFF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en-US" sz="1800" dirty="0" smtClean="0">
                <a:latin typeface="American Typewriter"/>
                <a:cs typeface="American Typewriter"/>
              </a:rPr>
              <a:t>Management Focus</a:t>
            </a:r>
            <a:endParaRPr lang="en-US" sz="1800" dirty="0">
              <a:latin typeface="American Typewriter"/>
              <a:cs typeface="American Typewriter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6283010" y="973246"/>
            <a:ext cx="2260602" cy="1774653"/>
            <a:chOff x="6224106" y="2292074"/>
            <a:chExt cx="2260602" cy="1774653"/>
          </a:xfrm>
        </p:grpSpPr>
        <p:sp>
          <p:nvSpPr>
            <p:cNvPr id="39" name="Text Placeholder 3"/>
            <p:cNvSpPr txBox="1">
              <a:spLocks/>
            </p:cNvSpPr>
            <p:nvPr/>
          </p:nvSpPr>
          <p:spPr>
            <a:xfrm>
              <a:off x="6224106" y="2292074"/>
              <a:ext cx="2260602" cy="50263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5000"/>
                </a:lnSpc>
                <a:spcBef>
                  <a:spcPts val="1480"/>
                </a:spcBef>
                <a:buClr>
                  <a:schemeClr val="tx2"/>
                </a:buClr>
                <a:buSzPct val="90000"/>
                <a:buFont typeface="Arial" pitchFamily="34" charset="0"/>
                <a:buChar char="•"/>
                <a:tabLst/>
                <a:defRPr lang="en-US" sz="2200" kern="1200">
                  <a:solidFill>
                    <a:srgbClr val="435153"/>
                  </a:solidFill>
                  <a:latin typeface="+mj-lt"/>
                  <a:ea typeface="+mn-ea"/>
                  <a:cs typeface="+mn-cs"/>
                </a:defRPr>
              </a:lvl1pPr>
              <a:lvl2pPr marL="406400" indent="0" algn="l" defTabSz="914400" rtl="0" eaLnBrk="1" latinLnBrk="0" hangingPunct="1">
                <a:lnSpc>
                  <a:spcPct val="95000"/>
                </a:lnSpc>
                <a:spcBef>
                  <a:spcPts val="600"/>
                </a:spcBef>
                <a:buClr>
                  <a:schemeClr val="tx2"/>
                </a:buClr>
                <a:buFontTx/>
                <a:buNone/>
                <a:defRPr lang="en-US" sz="1800" kern="1200">
                  <a:solidFill>
                    <a:srgbClr val="435153"/>
                  </a:solidFill>
                  <a:latin typeface="+mj-lt"/>
                  <a:ea typeface="+mn-ea"/>
                  <a:cs typeface="+mn-cs"/>
                </a:defRPr>
              </a:lvl2pPr>
              <a:lvl3pPr marL="571500" indent="-1588" algn="l" defTabSz="914400" rtl="0" eaLnBrk="1" latinLnBrk="0" hangingPunct="1">
                <a:lnSpc>
                  <a:spcPct val="95000"/>
                </a:lnSpc>
                <a:spcBef>
                  <a:spcPts val="840"/>
                </a:spcBef>
                <a:buFont typeface="Arial" pitchFamily="34" charset="0"/>
                <a:buNone/>
                <a:defRPr lang="en-US" sz="1600" kern="1200">
                  <a:solidFill>
                    <a:srgbClr val="435153"/>
                  </a:solidFill>
                  <a:latin typeface="+mj-lt"/>
                  <a:ea typeface="+mn-ea"/>
                  <a:cs typeface="+mn-cs"/>
                </a:defRPr>
              </a:lvl3pPr>
              <a:lvl4pPr marL="688975" indent="0" algn="l" defTabSz="914400" rtl="0" eaLnBrk="1" latinLnBrk="0" hangingPunct="1">
                <a:lnSpc>
                  <a:spcPct val="95000"/>
                </a:lnSpc>
                <a:spcBef>
                  <a:spcPts val="840"/>
                </a:spcBef>
                <a:buFont typeface="Arial" pitchFamily="34" charset="0"/>
                <a:buNone/>
                <a:defRPr lang="en-US" sz="1400" kern="1200">
                  <a:solidFill>
                    <a:srgbClr val="435153"/>
                  </a:solidFill>
                  <a:latin typeface="+mj-lt"/>
                  <a:ea typeface="+mn-ea"/>
                  <a:cs typeface="+mn-cs"/>
                </a:defRPr>
              </a:lvl4pPr>
              <a:lvl5pPr marL="801688" indent="0" algn="l" defTabSz="914400" rtl="0" eaLnBrk="1" latinLnBrk="0" hangingPunct="1">
                <a:lnSpc>
                  <a:spcPct val="95000"/>
                </a:lnSpc>
                <a:spcBef>
                  <a:spcPts val="840"/>
                </a:spcBef>
                <a:buFont typeface="Arial" pitchFamily="34" charset="0"/>
                <a:buNone/>
                <a:defRPr lang="en-US" sz="1400" kern="1200">
                  <a:solidFill>
                    <a:srgbClr val="435153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itchFamily="34" charset="0"/>
                <a:buNone/>
              </a:pPr>
              <a:r>
                <a:rPr lang="en-US" sz="1800" dirty="0" smtClean="0">
                  <a:latin typeface="American Typewriter"/>
                  <a:cs typeface="American Typewriter"/>
                </a:rPr>
                <a:t>Quality Ownership</a:t>
              </a:r>
              <a:endParaRPr lang="en-US" sz="1800" dirty="0">
                <a:latin typeface="American Typewriter"/>
                <a:cs typeface="American Typewriter"/>
              </a:endParaRPr>
            </a:p>
          </p:txBody>
        </p:sp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00800" y="2794710"/>
              <a:ext cx="1924414" cy="1272017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>
            <a:off x="2926370" y="2578101"/>
            <a:ext cx="3995130" cy="2198264"/>
            <a:chOff x="229705" y="2629610"/>
            <a:chExt cx="3713519" cy="1624890"/>
          </a:xfrm>
        </p:grpSpPr>
        <p:sp>
          <p:nvSpPr>
            <p:cNvPr id="38" name="Text Placeholder 3"/>
            <p:cNvSpPr txBox="1">
              <a:spLocks/>
            </p:cNvSpPr>
            <p:nvPr/>
          </p:nvSpPr>
          <p:spPr>
            <a:xfrm>
              <a:off x="788505" y="2629610"/>
              <a:ext cx="2561235" cy="502636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5000"/>
                </a:lnSpc>
                <a:spcBef>
                  <a:spcPts val="1480"/>
                </a:spcBef>
                <a:buClr>
                  <a:schemeClr val="tx2"/>
                </a:buClr>
                <a:buSzPct val="90000"/>
                <a:buFont typeface="Arial" pitchFamily="34" charset="0"/>
                <a:buChar char="•"/>
                <a:tabLst/>
                <a:defRPr lang="en-US" sz="2200" kern="1200">
                  <a:solidFill>
                    <a:srgbClr val="435153"/>
                  </a:solidFill>
                  <a:latin typeface="+mj-lt"/>
                  <a:ea typeface="+mn-ea"/>
                  <a:cs typeface="+mn-cs"/>
                </a:defRPr>
              </a:lvl1pPr>
              <a:lvl2pPr marL="406400" indent="0" algn="l" defTabSz="914400" rtl="0" eaLnBrk="1" latinLnBrk="0" hangingPunct="1">
                <a:lnSpc>
                  <a:spcPct val="95000"/>
                </a:lnSpc>
                <a:spcBef>
                  <a:spcPts val="600"/>
                </a:spcBef>
                <a:buClr>
                  <a:schemeClr val="tx2"/>
                </a:buClr>
                <a:buFontTx/>
                <a:buNone/>
                <a:defRPr lang="en-US" sz="1800" kern="1200">
                  <a:solidFill>
                    <a:srgbClr val="435153"/>
                  </a:solidFill>
                  <a:latin typeface="+mj-lt"/>
                  <a:ea typeface="+mn-ea"/>
                  <a:cs typeface="+mn-cs"/>
                </a:defRPr>
              </a:lvl2pPr>
              <a:lvl3pPr marL="571500" indent="-1588" algn="l" defTabSz="914400" rtl="0" eaLnBrk="1" latinLnBrk="0" hangingPunct="1">
                <a:lnSpc>
                  <a:spcPct val="95000"/>
                </a:lnSpc>
                <a:spcBef>
                  <a:spcPts val="840"/>
                </a:spcBef>
                <a:buFont typeface="Arial" pitchFamily="34" charset="0"/>
                <a:buNone/>
                <a:defRPr lang="en-US" sz="1600" kern="1200">
                  <a:solidFill>
                    <a:srgbClr val="435153"/>
                  </a:solidFill>
                  <a:latin typeface="+mj-lt"/>
                  <a:ea typeface="+mn-ea"/>
                  <a:cs typeface="+mn-cs"/>
                </a:defRPr>
              </a:lvl3pPr>
              <a:lvl4pPr marL="688975" indent="0" algn="l" defTabSz="914400" rtl="0" eaLnBrk="1" latinLnBrk="0" hangingPunct="1">
                <a:lnSpc>
                  <a:spcPct val="95000"/>
                </a:lnSpc>
                <a:spcBef>
                  <a:spcPts val="840"/>
                </a:spcBef>
                <a:buFont typeface="Arial" pitchFamily="34" charset="0"/>
                <a:buNone/>
                <a:defRPr lang="en-US" sz="1400" kern="1200">
                  <a:solidFill>
                    <a:srgbClr val="435153"/>
                  </a:solidFill>
                  <a:latin typeface="+mj-lt"/>
                  <a:ea typeface="+mn-ea"/>
                  <a:cs typeface="+mn-cs"/>
                </a:defRPr>
              </a:lvl4pPr>
              <a:lvl5pPr marL="801688" indent="0" algn="l" defTabSz="914400" rtl="0" eaLnBrk="1" latinLnBrk="0" hangingPunct="1">
                <a:lnSpc>
                  <a:spcPct val="95000"/>
                </a:lnSpc>
                <a:spcBef>
                  <a:spcPts val="840"/>
                </a:spcBef>
                <a:buFont typeface="Arial" pitchFamily="34" charset="0"/>
                <a:buNone/>
                <a:defRPr lang="en-US" sz="1400" kern="1200">
                  <a:solidFill>
                    <a:srgbClr val="435153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itchFamily="34" charset="0"/>
                <a:buNone/>
              </a:pPr>
              <a:r>
                <a:rPr lang="en-US" sz="1800" dirty="0" smtClean="0">
                  <a:latin typeface="American Typewriter"/>
                  <a:cs typeface="American Typewriter"/>
                </a:rPr>
                <a:t>Customer Feedback</a:t>
              </a:r>
              <a:endParaRPr lang="en-US" sz="1800" dirty="0">
                <a:latin typeface="American Typewriter"/>
                <a:cs typeface="American Typewriter"/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29705" y="3056046"/>
              <a:ext cx="3713519" cy="1198454"/>
            </a:xfrm>
            <a:prstGeom prst="rect">
              <a:avLst/>
            </a:prstGeom>
          </p:spPr>
        </p:pic>
      </p:grpSp>
      <p:pic>
        <p:nvPicPr>
          <p:cNvPr id="47" name="Picture 46" descr="IMG_0352-Edit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290" y="1425082"/>
            <a:ext cx="1732609" cy="3037805"/>
          </a:xfrm>
          <a:prstGeom prst="rect">
            <a:avLst/>
          </a:prstGeom>
          <a:ln>
            <a:solidFill>
              <a:srgbClr val="FFFFFF"/>
            </a:solidFill>
          </a:ln>
        </p:spPr>
      </p:pic>
    </p:spTree>
    <p:extLst>
      <p:ext uri="{BB962C8B-B14F-4D97-AF65-F5344CB8AC3E}">
        <p14:creationId xmlns:p14="http://schemas.microsoft.com/office/powerpoint/2010/main" val="332048281"/>
      </p:ext>
    </p:extLst>
  </p:cSld>
  <p:clrMapOvr>
    <a:masterClrMapping/>
  </p:clrMapOvr>
  <p:transition xmlns:p14="http://schemas.microsoft.com/office/powerpoint/2010/main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build="p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 …</a:t>
            </a:r>
            <a:endParaRPr lang="en-US" dirty="0"/>
          </a:p>
        </p:txBody>
      </p:sp>
      <p:pic>
        <p:nvPicPr>
          <p:cNvPr id="9217" name="Picture 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499" y="1054100"/>
            <a:ext cx="3861143" cy="2320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4900559" y="1074340"/>
            <a:ext cx="3594100" cy="132343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dirty="0">
                <a:latin typeface="Apple Chancery"/>
                <a:cs typeface="Apple Chancery"/>
              </a:rPr>
              <a:t>Cisco is named a 2014 leader in </a:t>
            </a:r>
            <a:endParaRPr lang="en-US" sz="2000" dirty="0" smtClean="0">
              <a:latin typeface="Apple Chancery"/>
              <a:cs typeface="Apple Chancery"/>
            </a:endParaRPr>
          </a:p>
          <a:p>
            <a:r>
              <a:rPr lang="en-US" sz="2000" dirty="0" smtClean="0">
                <a:latin typeface="Apple Chancery"/>
                <a:cs typeface="Apple Chancery"/>
              </a:rPr>
              <a:t>contact center </a:t>
            </a:r>
            <a:r>
              <a:rPr lang="en-US" sz="2000" dirty="0">
                <a:latin typeface="Apple Chancery"/>
                <a:cs typeface="Apple Chancery"/>
              </a:rPr>
              <a:t>infrastructure, worldwide</a:t>
            </a:r>
            <a:r>
              <a:rPr lang="en-US" sz="2000" dirty="0" smtClean="0">
                <a:latin typeface="Apple Chancery"/>
                <a:cs typeface="Apple Chancery"/>
              </a:rPr>
              <a:t>.</a:t>
            </a:r>
          </a:p>
          <a:p>
            <a:r>
              <a:rPr lang="en-US" sz="2000" dirty="0" smtClean="0">
                <a:latin typeface="Apple Chancery"/>
                <a:cs typeface="Apple Chancery"/>
              </a:rPr>
              <a:t> – Ga</a:t>
            </a:r>
            <a:r>
              <a:rPr lang="en-US" sz="2000" b="1" dirty="0" smtClean="0">
                <a:latin typeface="Apple Chancery"/>
                <a:cs typeface="Apple Chancery"/>
              </a:rPr>
              <a:t>rtner Report</a:t>
            </a:r>
            <a:endParaRPr lang="en-US" sz="2000" b="1" dirty="0">
              <a:latin typeface="Apple Chancery"/>
              <a:cs typeface="Apple Chancery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1642" y="2971800"/>
            <a:ext cx="4995607" cy="165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6559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econd Way- Amplify Feedback Loop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45456" y="3975785"/>
            <a:ext cx="7387244" cy="678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2028" lvl="1" defTabSz="685720">
              <a:lnSpc>
                <a:spcPct val="95000"/>
              </a:lnSpc>
              <a:spcBef>
                <a:spcPts val="450"/>
              </a:spcBef>
              <a:buClr>
                <a:srgbClr val="272848"/>
              </a:buClr>
              <a:buSzPct val="80000"/>
            </a:pPr>
            <a:r>
              <a:rPr lang="en-US" i="1" dirty="0">
                <a:solidFill>
                  <a:srgbClr val="272848"/>
                </a:solidFill>
                <a:cs typeface="CiscoSans ExtraLight"/>
              </a:rPr>
              <a:t>Information is not a scarce resource. Attention </a:t>
            </a:r>
            <a:r>
              <a:rPr lang="en-US" i="1" dirty="0" smtClean="0">
                <a:solidFill>
                  <a:srgbClr val="272848"/>
                </a:solidFill>
                <a:cs typeface="CiscoSans ExtraLight"/>
              </a:rPr>
              <a:t>is. </a:t>
            </a:r>
          </a:p>
          <a:p>
            <a:pPr marL="292028" lvl="1" defTabSz="685720">
              <a:lnSpc>
                <a:spcPct val="95000"/>
              </a:lnSpc>
              <a:spcBef>
                <a:spcPts val="450"/>
              </a:spcBef>
              <a:buClr>
                <a:srgbClr val="272848"/>
              </a:buClr>
              <a:buSzPct val="80000"/>
            </a:pPr>
            <a:r>
              <a:rPr lang="en-US" i="1" dirty="0" smtClean="0">
                <a:solidFill>
                  <a:srgbClr val="272848"/>
                </a:solidFill>
                <a:cs typeface="CiscoSans ExtraLight"/>
              </a:rPr>
              <a:t> </a:t>
            </a:r>
            <a:r>
              <a:rPr lang="en-US" i="1" dirty="0">
                <a:solidFill>
                  <a:srgbClr val="272848"/>
                </a:solidFill>
                <a:cs typeface="CiscoSans ExtraLight"/>
              </a:rPr>
              <a:t>Herb Simon, </a:t>
            </a:r>
            <a:r>
              <a:rPr lang="en-US" i="1" dirty="0" smtClean="0">
                <a:solidFill>
                  <a:srgbClr val="272848"/>
                </a:solidFill>
                <a:cs typeface="CiscoSans ExtraLight"/>
              </a:rPr>
              <a:t>1991</a:t>
            </a:r>
            <a:endParaRPr lang="en-US" i="1" dirty="0">
              <a:solidFill>
                <a:srgbClr val="272848"/>
              </a:solidFill>
              <a:cs typeface="CiscoSans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1452241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6233" y="849389"/>
            <a:ext cx="3371850" cy="3371850"/>
          </a:xfrm>
          <a:prstGeom prst="rect">
            <a:avLst/>
          </a:prstGeom>
        </p:spPr>
      </p:pic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085852763"/>
              </p:ext>
            </p:extLst>
          </p:nvPr>
        </p:nvGraphicFramePr>
        <p:xfrm>
          <a:off x="-811743" y="37465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cxnSp>
        <p:nvCxnSpPr>
          <p:cNvPr id="8" name="Straight Arrow Connector 7"/>
          <p:cNvCxnSpPr/>
          <p:nvPr/>
        </p:nvCxnSpPr>
        <p:spPr>
          <a:xfrm flipH="1">
            <a:off x="2667001" y="1375833"/>
            <a:ext cx="744004" cy="730250"/>
          </a:xfrm>
          <a:prstGeom prst="straightConnector1">
            <a:avLst/>
          </a:prstGeom>
          <a:ln w="38100" cmpd="sng">
            <a:solidFill>
              <a:srgbClr val="FF66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1005" y="332316"/>
            <a:ext cx="2875495" cy="1876261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3263897" y="2535314"/>
            <a:ext cx="3022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 smtClean="0">
                <a:latin typeface="American Typewriter"/>
                <a:cs typeface="American Typewriter"/>
              </a:rPr>
              <a:t>What I do</a:t>
            </a:r>
            <a:endParaRPr lang="en-US" sz="4400" dirty="0">
              <a:latin typeface="American Typewriter"/>
              <a:cs typeface="American Typewriter"/>
            </a:endParaRPr>
          </a:p>
        </p:txBody>
      </p:sp>
    </p:spTree>
    <p:extLst>
      <p:ext uri="{BB962C8B-B14F-4D97-AF65-F5344CB8AC3E}">
        <p14:creationId xmlns:p14="http://schemas.microsoft.com/office/powerpoint/2010/main" val="1803135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29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Focus on two feedback loops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741" y="842464"/>
            <a:ext cx="3982059" cy="284053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1620" y="2454246"/>
            <a:ext cx="3987598" cy="191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502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4864905" y="209039"/>
            <a:ext cx="1935449" cy="1286624"/>
            <a:chOff x="36255" y="0"/>
            <a:chExt cx="2394331" cy="2043231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775" y="0"/>
              <a:ext cx="2054225" cy="1456711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36255" y="1456711"/>
              <a:ext cx="2394331" cy="5865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latin typeface="Apple Chancery"/>
                  <a:cs typeface="Apple Chancery"/>
                </a:rPr>
                <a:t>Customer Site test</a:t>
              </a:r>
              <a:endParaRPr lang="en-US" dirty="0">
                <a:latin typeface="Apple Chancery"/>
                <a:cs typeface="Apple Chancery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045166" y="3646632"/>
            <a:ext cx="1612429" cy="1130384"/>
            <a:chOff x="3206750" y="2765678"/>
            <a:chExt cx="3101586" cy="2772414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06750" y="2765678"/>
              <a:ext cx="3101586" cy="1933322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3665120" y="4707744"/>
              <a:ext cx="2643216" cy="8303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 smtClean="0">
                  <a:latin typeface="Apple Chancery"/>
                  <a:cs typeface="Apple Chancery"/>
                </a:rPr>
                <a:t>Services</a:t>
              </a:r>
              <a:endParaRPr lang="en-US" sz="1600" dirty="0">
                <a:latin typeface="Apple Chancery"/>
                <a:cs typeface="Apple Chancery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920293" y="1740164"/>
            <a:ext cx="1737302" cy="1523564"/>
            <a:chOff x="5831898" y="0"/>
            <a:chExt cx="3486150" cy="2588707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31898" y="0"/>
              <a:ext cx="3486150" cy="2174782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7192478" y="1961170"/>
              <a:ext cx="1615358" cy="6275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latin typeface="Apple Chancery"/>
                  <a:cs typeface="Apple Chancery"/>
                </a:rPr>
                <a:t>Cloud</a:t>
              </a:r>
              <a:endParaRPr lang="en-US" dirty="0">
                <a:latin typeface="Apple Chancery"/>
                <a:cs typeface="Apple Chancery"/>
              </a:endParaRPr>
            </a:p>
          </p:txBody>
        </p:sp>
      </p:grpSp>
      <p:sp>
        <p:nvSpPr>
          <p:cNvPr id="9" name="Rectangle 8"/>
          <p:cNvSpPr/>
          <p:nvPr/>
        </p:nvSpPr>
        <p:spPr>
          <a:xfrm>
            <a:off x="1831975" y="42614"/>
            <a:ext cx="2812242" cy="56425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57133" lvl="0" defTabSz="685720">
              <a:lnSpc>
                <a:spcPct val="95000"/>
              </a:lnSpc>
              <a:spcBef>
                <a:spcPts val="1110"/>
              </a:spcBef>
              <a:buClr>
                <a:srgbClr val="272848"/>
              </a:buClr>
              <a:buSzPct val="80000"/>
            </a:pPr>
            <a:r>
              <a:rPr lang="en-US" sz="3200" dirty="0" smtClean="0">
                <a:solidFill>
                  <a:schemeClr val="bg2"/>
                </a:solidFill>
                <a:latin typeface="American Typewriter"/>
                <a:cs typeface="American Typewriter"/>
              </a:rPr>
              <a:t>Who is OPs ?</a:t>
            </a:r>
            <a:endParaRPr lang="en-US" sz="3200" dirty="0">
              <a:solidFill>
                <a:schemeClr val="bg2"/>
              </a:solidFill>
              <a:latin typeface="American Typewriter"/>
              <a:cs typeface="American Typewriter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0" y="1020432"/>
            <a:ext cx="2006601" cy="2308700"/>
            <a:chOff x="330200" y="1826043"/>
            <a:chExt cx="2006601" cy="2308700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0200" y="1826043"/>
              <a:ext cx="2006601" cy="2006601"/>
            </a:xfrm>
            <a:prstGeom prst="rect">
              <a:avLst/>
            </a:prstGeom>
          </p:spPr>
        </p:pic>
        <p:sp>
          <p:nvSpPr>
            <p:cNvPr id="14" name="Rectangle 13"/>
            <p:cNvSpPr/>
            <p:nvPr/>
          </p:nvSpPr>
          <p:spPr>
            <a:xfrm>
              <a:off x="368594" y="3765411"/>
              <a:ext cx="186748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latin typeface="Apple Chancery"/>
                  <a:cs typeface="Apple Chancery"/>
                </a:rPr>
                <a:t>Product Segment</a:t>
              </a:r>
              <a:endParaRPr lang="en-US" dirty="0">
                <a:latin typeface="Apple Chancery"/>
                <a:cs typeface="Apple Chancery"/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6975" y="1787134"/>
            <a:ext cx="1803400" cy="9017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6600" y="1679503"/>
            <a:ext cx="1829377" cy="134061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94" y="0"/>
            <a:ext cx="1008836" cy="719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855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731358">
            <a:off x="141398" y="3072208"/>
            <a:ext cx="1815763" cy="1361822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142875" y="1129312"/>
            <a:ext cx="1889125" cy="1708966"/>
            <a:chOff x="600075" y="687380"/>
            <a:chExt cx="1889125" cy="1708966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0075" y="687380"/>
              <a:ext cx="1889125" cy="1339634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944098" y="2027014"/>
              <a:ext cx="113644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latin typeface="Apple Chancery"/>
                  <a:cs typeface="Apple Chancery"/>
                </a:rPr>
                <a:t>Customer</a:t>
              </a:r>
              <a:endParaRPr lang="en-US" dirty="0">
                <a:latin typeface="Apple Chancery"/>
                <a:cs typeface="Apple Chancery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6558632" y="1254378"/>
            <a:ext cx="2184741" cy="1771134"/>
            <a:chOff x="6686306" y="2765678"/>
            <a:chExt cx="2184741" cy="1771134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86306" y="2765678"/>
              <a:ext cx="2184741" cy="1361822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7330686" y="4167480"/>
              <a:ext cx="97639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latin typeface="Apple Chancery"/>
                  <a:cs typeface="Apple Chancery"/>
                </a:rPr>
                <a:t>Services</a:t>
              </a:r>
              <a:endParaRPr lang="en-US" dirty="0">
                <a:latin typeface="Apple Chancery"/>
                <a:cs typeface="Apple Chancery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089275" y="996070"/>
            <a:ext cx="2812862" cy="1925872"/>
            <a:chOff x="6505186" y="0"/>
            <a:chExt cx="2812862" cy="1925872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5186" y="0"/>
              <a:ext cx="2812862" cy="1754761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7319479" y="1556540"/>
              <a:ext cx="1634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latin typeface="Apple Chancery"/>
                  <a:cs typeface="Apple Chancery"/>
                </a:rPr>
                <a:t>Product group</a:t>
              </a:r>
              <a:endParaRPr lang="en-US" dirty="0">
                <a:latin typeface="Apple Chancery"/>
                <a:cs typeface="Apple Chancery"/>
              </a:endParaRPr>
            </a:p>
          </p:txBody>
        </p:sp>
      </p:grpSp>
      <p:sp>
        <p:nvSpPr>
          <p:cNvPr id="9" name="Rectangle 8"/>
          <p:cNvSpPr/>
          <p:nvPr/>
        </p:nvSpPr>
        <p:spPr>
          <a:xfrm>
            <a:off x="2098559" y="97235"/>
            <a:ext cx="4165600" cy="56425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57133" lvl="0" defTabSz="685720">
              <a:lnSpc>
                <a:spcPct val="95000"/>
              </a:lnSpc>
              <a:spcBef>
                <a:spcPts val="1110"/>
              </a:spcBef>
              <a:buClr>
                <a:srgbClr val="272848"/>
              </a:buClr>
              <a:buSzPct val="80000"/>
            </a:pPr>
            <a:r>
              <a:rPr lang="en-US" sz="3200" dirty="0" smtClean="0">
                <a:solidFill>
                  <a:schemeClr val="bg2"/>
                </a:solidFill>
                <a:latin typeface="American Typewriter"/>
                <a:cs typeface="American Typewriter"/>
              </a:rPr>
              <a:t>Different Strategies</a:t>
            </a:r>
            <a:endParaRPr lang="en-US" sz="3200" dirty="0">
              <a:solidFill>
                <a:schemeClr val="bg2"/>
              </a:solidFill>
              <a:latin typeface="American Typewriter"/>
              <a:cs typeface="American Typewriter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2312" y="3389634"/>
            <a:ext cx="1983732" cy="991866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8714" y="3275725"/>
            <a:ext cx="1579486" cy="101560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94" y="0"/>
            <a:ext cx="1008836" cy="719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14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9950" y="624141"/>
            <a:ext cx="1358899" cy="162256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9500" y="624141"/>
            <a:ext cx="2628900" cy="129604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4000" y="2814112"/>
            <a:ext cx="2362200" cy="156738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700" y="2374900"/>
            <a:ext cx="2006601" cy="20066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0406" y="405207"/>
            <a:ext cx="2713789" cy="18415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347258" y="2995903"/>
            <a:ext cx="2812242" cy="1499898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57133" lvl="0" defTabSz="685720">
              <a:lnSpc>
                <a:spcPct val="95000"/>
              </a:lnSpc>
              <a:spcBef>
                <a:spcPts val="1110"/>
              </a:spcBef>
              <a:buClr>
                <a:srgbClr val="272848"/>
              </a:buClr>
              <a:buSzPct val="80000"/>
            </a:pPr>
            <a:r>
              <a:rPr lang="en-US" sz="3200" dirty="0" smtClean="0">
                <a:solidFill>
                  <a:schemeClr val="bg2"/>
                </a:solidFill>
                <a:latin typeface="American Typewriter"/>
                <a:cs typeface="American Typewriter"/>
              </a:rPr>
              <a:t>Amplifying Customer feedback</a:t>
            </a:r>
            <a:endParaRPr lang="en-US" sz="3200" dirty="0">
              <a:solidFill>
                <a:schemeClr val="bg2"/>
              </a:solidFill>
              <a:latin typeface="American Typewriter"/>
              <a:cs typeface="American Typewriter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100" y="31700"/>
            <a:ext cx="1231900" cy="59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8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5456" y="571576"/>
            <a:ext cx="8301718" cy="1892224"/>
          </a:xfrm>
        </p:spPr>
        <p:txBody>
          <a:bodyPr/>
          <a:lstStyle/>
          <a:p>
            <a:r>
              <a:rPr lang="en-US" dirty="0" smtClean="0"/>
              <a:t>Third Way- Culture of continuous experimentation and learning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45456" y="3683001"/>
            <a:ext cx="83947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 smtClean="0"/>
              <a:t>“Whenever </a:t>
            </a:r>
            <a:r>
              <a:rPr lang="en-US" i="1" dirty="0"/>
              <a:t>you solve a problem, you usually create one. You can only hope that the one you created is less critical than the one you eliminated</a:t>
            </a:r>
            <a:r>
              <a:rPr lang="en-US" i="1" dirty="0" smtClean="0"/>
              <a:t>.” – Wiener’s Law</a:t>
            </a:r>
          </a:p>
          <a:p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6095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laybook – Baseline practices at Cisco</a:t>
            </a:r>
            <a:endParaRPr lang="en-US" dirty="0"/>
          </a:p>
        </p:txBody>
      </p:sp>
      <p:pic>
        <p:nvPicPr>
          <p:cNvPr id="3" name="Picture 1" descr="BB5C0C06-1678-494D-B76C-CD57E980470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4085" y="925837"/>
            <a:ext cx="4179725" cy="2058377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</p:pic>
      <p:pic>
        <p:nvPicPr>
          <p:cNvPr id="4" name="Picture 2" descr="C:\Users\Han Helen\AppData\Local\Microsoft\Windows\Temporary Internet Files\Content.Outlook\YOVVB1N2\Screen Shot 2014-04-30 at 11 03 14 AM (2)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5415" y="1084473"/>
            <a:ext cx="3917594" cy="2453575"/>
          </a:xfrm>
          <a:prstGeom prst="rect">
            <a:avLst/>
          </a:prstGeom>
          <a:noFill/>
          <a:ln>
            <a:solidFill>
              <a:schemeClr val="bg2"/>
            </a:solidFill>
          </a:ln>
        </p:spPr>
      </p:pic>
      <p:sp>
        <p:nvSpPr>
          <p:cNvPr id="5" name="Rectangular Callout 4"/>
          <p:cNvSpPr/>
          <p:nvPr/>
        </p:nvSpPr>
        <p:spPr>
          <a:xfrm>
            <a:off x="493103" y="3074670"/>
            <a:ext cx="2410031" cy="754380"/>
          </a:xfrm>
          <a:prstGeom prst="wedgeRectCallout">
            <a:avLst>
              <a:gd name="adj1" fmla="val -18706"/>
              <a:gd name="adj2" fmla="val -68750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68571" tIns="67491" rIns="68571" bIns="67491" rtlCol="0" anchor="ctr" anchorCtr="0"/>
          <a:lstStyle/>
          <a:p>
            <a:pPr defTabSz="682500"/>
            <a:r>
              <a:rPr lang="en-US" sz="1200" b="1" dirty="0" smtClean="0">
                <a:solidFill>
                  <a:srgbClr val="FFFFFF"/>
                </a:solidFill>
                <a:latin typeface="CiscoSansTT Light"/>
              </a:rPr>
              <a:t>Transformation </a:t>
            </a:r>
            <a:r>
              <a:rPr lang="en-US" sz="1200" b="1" dirty="0">
                <a:solidFill>
                  <a:srgbClr val="FFFFFF"/>
                </a:solidFill>
                <a:latin typeface="CiscoSansTT Light"/>
              </a:rPr>
              <a:t>journey illustrates key activities – Prepare, Get Started, and Optimize</a:t>
            </a:r>
          </a:p>
        </p:txBody>
      </p:sp>
      <p:sp>
        <p:nvSpPr>
          <p:cNvPr id="6" name="Rectangular Callout 5"/>
          <p:cNvSpPr/>
          <p:nvPr/>
        </p:nvSpPr>
        <p:spPr>
          <a:xfrm>
            <a:off x="7023493" y="925831"/>
            <a:ext cx="1872335" cy="767720"/>
          </a:xfrm>
          <a:prstGeom prst="wedgeRectCallout">
            <a:avLst>
              <a:gd name="adj1" fmla="val -37308"/>
              <a:gd name="adj2" fmla="val 70284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68571" tIns="67491" rIns="68571" bIns="67491" rtlCol="0" anchor="ctr" anchorCtr="0"/>
          <a:lstStyle/>
          <a:p>
            <a:pPr defTabSz="682500"/>
            <a:r>
              <a:rPr lang="en-US" sz="1200" b="1" dirty="0">
                <a:solidFill>
                  <a:srgbClr val="FFFFFF"/>
                </a:solidFill>
                <a:latin typeface="CiscoSansTT Light"/>
              </a:rPr>
              <a:t>Common pitfall </a:t>
            </a:r>
            <a:r>
              <a:rPr lang="en-US" sz="1200" b="1" dirty="0" smtClean="0">
                <a:solidFill>
                  <a:srgbClr val="FFFFFF"/>
                </a:solidFill>
                <a:latin typeface="CiscoSansTT Light"/>
              </a:rPr>
              <a:t>videos- featuring Brad Pitfall</a:t>
            </a:r>
            <a:endParaRPr lang="en-US" sz="1200" b="1" dirty="0">
              <a:solidFill>
                <a:srgbClr val="FFFFFF"/>
              </a:solidFill>
              <a:latin typeface="CiscoSansTT Light"/>
            </a:endParaRPr>
          </a:p>
        </p:txBody>
      </p:sp>
      <p:pic>
        <p:nvPicPr>
          <p:cNvPr id="7" name="Picture 3" descr="C:\Users\Han Helen\AppData\Local\Microsoft\Windows\Temporary Internet Files\Content.Outlook\YOVVB1N2\Screen Shot 2014-04-30 at 11 23 39 AM (2)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6773" y="2467425"/>
            <a:ext cx="4143793" cy="2141245"/>
          </a:xfrm>
          <a:prstGeom prst="rect">
            <a:avLst/>
          </a:prstGeom>
          <a:noFill/>
          <a:ln>
            <a:solidFill>
              <a:schemeClr val="bg2"/>
            </a:solidFill>
          </a:ln>
        </p:spPr>
      </p:pic>
      <p:sp>
        <p:nvSpPr>
          <p:cNvPr id="8" name="Rectangular Callout 7"/>
          <p:cNvSpPr/>
          <p:nvPr/>
        </p:nvSpPr>
        <p:spPr>
          <a:xfrm>
            <a:off x="2104979" y="3880943"/>
            <a:ext cx="2248889" cy="829247"/>
          </a:xfrm>
          <a:prstGeom prst="wedgeRectCallout">
            <a:avLst>
              <a:gd name="adj1" fmla="val 65001"/>
              <a:gd name="adj2" fmla="val -28778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68571" tIns="67491" rIns="68571" bIns="67491" rtlCol="0" anchor="ctr" anchorCtr="0"/>
          <a:lstStyle/>
          <a:p>
            <a:pPr defTabSz="682500"/>
            <a:r>
              <a:rPr lang="en-US" sz="1200" b="1" dirty="0">
                <a:solidFill>
                  <a:srgbClr val="FFFFFF"/>
                </a:solidFill>
                <a:latin typeface="CiscoSansTT Light"/>
              </a:rPr>
              <a:t>P</a:t>
            </a:r>
            <a:r>
              <a:rPr lang="en-US" sz="1200" b="1" dirty="0" smtClean="0">
                <a:solidFill>
                  <a:srgbClr val="FFFFFF"/>
                </a:solidFill>
                <a:latin typeface="CiscoSansTT Light"/>
              </a:rPr>
              <a:t>ages </a:t>
            </a:r>
            <a:r>
              <a:rPr lang="en-US" sz="1200" b="1" dirty="0">
                <a:solidFill>
                  <a:srgbClr val="FFFFFF"/>
                </a:solidFill>
                <a:latin typeface="CiscoSansTT Light"/>
              </a:rPr>
              <a:t>containing best practices, actionable checklists, practical tips, Cisco examples &amp; videos</a:t>
            </a:r>
          </a:p>
        </p:txBody>
      </p:sp>
    </p:spTree>
    <p:extLst>
      <p:ext uri="{BB962C8B-B14F-4D97-AF65-F5344CB8AC3E}">
        <p14:creationId xmlns:p14="http://schemas.microsoft.com/office/powerpoint/2010/main" val="2763212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1900" y="-1"/>
            <a:ext cx="7756347" cy="5164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353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 flipH="1" flipV="1">
            <a:off x="0" y="-58855"/>
            <a:ext cx="8939746" cy="5261210"/>
            <a:chOff x="6060399" y="2335334"/>
            <a:chExt cx="1656169" cy="2254616"/>
          </a:xfrm>
        </p:grpSpPr>
        <p:sp>
          <p:nvSpPr>
            <p:cNvPr id="14" name="Isosceles Triangle 13"/>
            <p:cNvSpPr/>
            <p:nvPr/>
          </p:nvSpPr>
          <p:spPr>
            <a:xfrm>
              <a:off x="6060399" y="3058113"/>
              <a:ext cx="1650643" cy="1531835"/>
            </a:xfrm>
            <a:prstGeom prst="triangle">
              <a:avLst>
                <a:gd name="adj" fmla="val 100000"/>
              </a:avLst>
            </a:prstGeom>
            <a:solidFill>
              <a:schemeClr val="accent5">
                <a:lumMod val="75000"/>
                <a:alpha val="30000"/>
              </a:schemeClr>
            </a:solidFill>
            <a:ln>
              <a:noFill/>
            </a:ln>
          </p:spPr>
          <p:txBody>
            <a:bodyPr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5" name="Isosceles Triangle 14"/>
            <p:cNvSpPr/>
            <p:nvPr/>
          </p:nvSpPr>
          <p:spPr>
            <a:xfrm>
              <a:off x="6637856" y="3610516"/>
              <a:ext cx="1078712" cy="979432"/>
            </a:xfrm>
            <a:prstGeom prst="triangle">
              <a:avLst>
                <a:gd name="adj" fmla="val 100000"/>
              </a:avLst>
            </a:prstGeom>
            <a:solidFill>
              <a:schemeClr val="accent5">
                <a:lumMod val="50000"/>
                <a:alpha val="24000"/>
              </a:schemeClr>
            </a:solidFill>
            <a:ln>
              <a:noFill/>
            </a:ln>
          </p:spPr>
          <p:txBody>
            <a:bodyPr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6" name="Isosceles Triangle 15"/>
            <p:cNvSpPr/>
            <p:nvPr/>
          </p:nvSpPr>
          <p:spPr>
            <a:xfrm>
              <a:off x="6933246" y="2335334"/>
              <a:ext cx="783322" cy="2254616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" name="Title 1"/>
          <p:cNvSpPr txBox="1">
            <a:spLocks/>
          </p:cNvSpPr>
          <p:nvPr/>
        </p:nvSpPr>
        <p:spPr>
          <a:xfrm>
            <a:off x="1534029" y="165100"/>
            <a:ext cx="5654171" cy="543928"/>
          </a:xfrm>
          <a:prstGeom prst="rect">
            <a:avLst/>
          </a:prstGeom>
        </p:spPr>
        <p:txBody>
          <a:bodyPr lIns="68589" tIns="34295" rIns="68589" bIns="34295"/>
          <a:lstStyle>
            <a:lvl1pPr algn="l" defTabSz="91174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kern="1200" spc="0" baseline="0" dirty="0">
                <a:solidFill>
                  <a:schemeClr val="accent4"/>
                </a:solidFill>
                <a:latin typeface="+mj-lt"/>
                <a:ea typeface="+mj-ea"/>
                <a:cs typeface="CiscoSans"/>
              </a:defRPr>
            </a:lvl1pPr>
          </a:lstStyle>
          <a:p>
            <a:pPr algn="ctr"/>
            <a:r>
              <a:rPr lang="en-US" dirty="0" smtClean="0">
                <a:solidFill>
                  <a:srgbClr val="FFFFFF"/>
                </a:solidFill>
              </a:rPr>
              <a:t>Building Communities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8" name="Picture 2" descr="C:\Users\Sharma Shreshth\Documents\Cases\Cisco\My Work\India conference\Pictures\Conference day\IMG_2054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0931" y="1086295"/>
            <a:ext cx="2616737" cy="1320963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3" descr="C:\Users\Sharma Shreshth\Documents\Cases\Cisco\My Work\India conference\Pictures\Conference day\IMG_1997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68764" y="1086298"/>
            <a:ext cx="2479624" cy="1320963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2" name="Rectangle 11"/>
          <p:cNvSpPr/>
          <p:nvPr/>
        </p:nvSpPr>
        <p:spPr>
          <a:xfrm>
            <a:off x="760931" y="2428958"/>
            <a:ext cx="2616735" cy="3843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67494" rIns="68574" bIns="67494" rtlCol="0" anchor="ctr" anchorCtr="0"/>
          <a:lstStyle/>
          <a:p>
            <a:pPr algn="ctr" fontAlgn="base">
              <a:buClr>
                <a:srgbClr val="007A8F"/>
              </a:buClr>
              <a:buSzPct val="100000"/>
              <a:buFont typeface=""/>
            </a:pPr>
            <a:r>
              <a:rPr lang="en-US" sz="1100" b="1" dirty="0" smtClean="0">
                <a:solidFill>
                  <a:schemeClr val="tx1"/>
                </a:solidFill>
                <a:cs typeface="Arial" pitchFamily="34" charset="0"/>
                <a:sym typeface="CiscoSansTT Light"/>
              </a:rPr>
              <a:t>Booth </a:t>
            </a:r>
            <a:r>
              <a:rPr lang="en-US" sz="1100" b="1" dirty="0">
                <a:solidFill>
                  <a:schemeClr val="tx1"/>
                </a:solidFill>
                <a:cs typeface="Arial" pitchFamily="34" charset="0"/>
                <a:sym typeface="CiscoSansTT Light"/>
              </a:rPr>
              <a:t>packed with content – tools, experts, videos and app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468764" y="2442587"/>
            <a:ext cx="2479624" cy="384331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67494" rIns="68574" bIns="67494" rtlCol="0" anchor="ctr" anchorCtr="0"/>
          <a:lstStyle/>
          <a:p>
            <a:pPr algn="ctr" fontAlgn="base">
              <a:buClr>
                <a:srgbClr val="007A8F"/>
              </a:buClr>
              <a:buSzPct val="100000"/>
              <a:buFont typeface=""/>
            </a:pPr>
            <a:r>
              <a:rPr lang="en-US" sz="1100" b="1" dirty="0">
                <a:solidFill>
                  <a:schemeClr val="tx1"/>
                </a:solidFill>
                <a:cs typeface="Arial" pitchFamily="34" charset="0"/>
                <a:sym typeface="CiscoSansTT Light"/>
              </a:rPr>
              <a:t>And attracted an over 4,000 visitors</a:t>
            </a:r>
            <a:endParaRPr lang="en-US" sz="1100" b="1" dirty="0">
              <a:solidFill>
                <a:schemeClr val="tx1"/>
              </a:solidFill>
            </a:endParaRPr>
          </a:p>
        </p:txBody>
      </p:sp>
      <p:pic>
        <p:nvPicPr>
          <p:cNvPr id="19" name="Picture 3" descr="C:\Users\Sharma Shreshth\Documents\Cases\Cisco\My Work\India conference\Pictures\Conference day\IMG_2031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8388" y="1085368"/>
            <a:ext cx="2479624" cy="1319114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0" name="Rectangle 19"/>
          <p:cNvSpPr/>
          <p:nvPr/>
        </p:nvSpPr>
        <p:spPr>
          <a:xfrm>
            <a:off x="6016120" y="2428959"/>
            <a:ext cx="2479624" cy="384331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67494" rIns="68574" bIns="67494" rtlCol="0" anchor="ctr" anchorCtr="0"/>
          <a:lstStyle/>
          <a:p>
            <a:pPr algn="ctr" fontAlgn="base">
              <a:buClr>
                <a:srgbClr val="007A8F"/>
              </a:buClr>
              <a:buSzPct val="100000"/>
              <a:buFont typeface=""/>
            </a:pPr>
            <a:r>
              <a:rPr lang="en-US" sz="1100" b="1" dirty="0">
                <a:solidFill>
                  <a:schemeClr val="tx1"/>
                </a:solidFill>
                <a:cs typeface="Arial" pitchFamily="34" charset="0"/>
                <a:sym typeface="CiscoSansTT Light"/>
              </a:rPr>
              <a:t>EAT corner conducted hands-on sessions with 1,000+ engineers</a:t>
            </a:r>
            <a:endParaRPr lang="en-US" sz="1100" b="1" dirty="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953783"/>
            <a:ext cx="9144000" cy="2157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76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69888" y="458670"/>
            <a:ext cx="8615940" cy="728782"/>
          </a:xfrm>
        </p:spPr>
        <p:txBody>
          <a:bodyPr/>
          <a:lstStyle/>
          <a:p>
            <a:r>
              <a:rPr lang="en-US" dirty="0" smtClean="0"/>
              <a:t>Help!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400" y="1927301"/>
            <a:ext cx="3403600" cy="25527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60400" y="1223541"/>
            <a:ext cx="3403600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Metrics ?</a:t>
            </a:r>
          </a:p>
          <a:p>
            <a:r>
              <a:rPr lang="en-US" sz="2000" b="1" dirty="0" smtClean="0"/>
              <a:t>Embedded Systems</a:t>
            </a:r>
            <a:endParaRPr lang="en-US" sz="2000" b="1" dirty="0"/>
          </a:p>
        </p:txBody>
      </p:sp>
      <p:grpSp>
        <p:nvGrpSpPr>
          <p:cNvPr id="14" name="Group 13"/>
          <p:cNvGrpSpPr/>
          <p:nvPr/>
        </p:nvGrpSpPr>
        <p:grpSpPr>
          <a:xfrm>
            <a:off x="4889500" y="1945378"/>
            <a:ext cx="3828203" cy="1015663"/>
            <a:chOff x="4889500" y="1945378"/>
            <a:chExt cx="3828203" cy="1015663"/>
          </a:xfrm>
        </p:grpSpPr>
        <p:sp>
          <p:nvSpPr>
            <p:cNvPr id="12" name="TextBox 11"/>
            <p:cNvSpPr txBox="1"/>
            <p:nvPr/>
          </p:nvSpPr>
          <p:spPr>
            <a:xfrm>
              <a:off x="4889500" y="1945378"/>
              <a:ext cx="3828203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  <a:p>
              <a:r>
                <a:rPr lang="en-US" dirty="0" smtClean="0">
                  <a:solidFill>
                    <a:schemeClr val="bg1"/>
                  </a:solidFill>
                </a:rPr>
                <a:t>	  </a:t>
              </a:r>
              <a:r>
                <a:rPr lang="en-US" sz="2400" dirty="0" smtClean="0">
                  <a:solidFill>
                    <a:schemeClr val="bg1"/>
                  </a:solidFill>
                </a:rPr>
                <a:t>Ramya Ravichandar</a:t>
              </a:r>
              <a:endParaRPr lang="en-US" dirty="0" smtClean="0">
                <a:solidFill>
                  <a:schemeClr val="bg1"/>
                </a:solidFill>
              </a:endParaRPr>
            </a:p>
            <a:p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05400" y="2247900"/>
              <a:ext cx="368300" cy="368300"/>
            </a:xfrm>
            <a:prstGeom prst="rect">
              <a:avLst/>
            </a:prstGeom>
          </p:spPr>
        </p:pic>
      </p:grpSp>
      <p:sp>
        <p:nvSpPr>
          <p:cNvPr id="15" name="Rectangle 14"/>
          <p:cNvSpPr/>
          <p:nvPr/>
        </p:nvSpPr>
        <p:spPr>
          <a:xfrm>
            <a:off x="5105400" y="2641600"/>
            <a:ext cx="24257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>
              <a:solidFill>
                <a:schemeClr val="bg1"/>
              </a:solidFill>
              <a:hlinkClick r:id="rId5"/>
            </a:endParaRPr>
          </a:p>
          <a:p>
            <a:r>
              <a:rPr lang="en-US" dirty="0">
                <a:solidFill>
                  <a:schemeClr val="bg1"/>
                </a:solidFill>
                <a:hlinkClick r:id="rId5"/>
              </a:rPr>
              <a:t>raravich@cisco.com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93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1125005" y="196397"/>
            <a:ext cx="267441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 smtClean="0">
                <a:latin typeface="American Typewriter"/>
                <a:cs typeface="American Typewriter"/>
              </a:rPr>
              <a:t>For over 5 years .. </a:t>
            </a:r>
            <a:endParaRPr lang="en-US" sz="4400" dirty="0">
              <a:latin typeface="American Typewriter"/>
              <a:cs typeface="American Typewriter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75693" y="2062737"/>
            <a:ext cx="3014222" cy="36933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rgbClr val="272A48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American Typewriter"/>
                <a:cs typeface="American Typewriter"/>
              </a:rPr>
              <a:t>Agile Transformation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975693" y="2995664"/>
            <a:ext cx="4240746" cy="1297468"/>
            <a:chOff x="2606890" y="3059159"/>
            <a:chExt cx="4240746" cy="1297468"/>
          </a:xfrm>
        </p:grpSpPr>
        <p:sp>
          <p:nvSpPr>
            <p:cNvPr id="13" name="TextBox 12"/>
            <p:cNvSpPr txBox="1"/>
            <p:nvPr/>
          </p:nvSpPr>
          <p:spPr>
            <a:xfrm>
              <a:off x="2977442" y="3059159"/>
              <a:ext cx="1643950" cy="827036"/>
            </a:xfrm>
            <a:prstGeom prst="rect">
              <a:avLst/>
            </a:prstGeom>
            <a:noFill/>
            <a:ln>
              <a:solidFill>
                <a:srgbClr val="272A48"/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latin typeface="American Typewriter"/>
                  <a:cs typeface="American Typewriter"/>
                </a:rPr>
                <a:t>Collaboration Technologies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4621391" y="3067917"/>
              <a:ext cx="2226245" cy="496220"/>
            </a:xfrm>
            <a:prstGeom prst="rect">
              <a:avLst/>
            </a:prstGeom>
            <a:noFill/>
            <a:ln>
              <a:solidFill>
                <a:srgbClr val="272A48"/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latin typeface="American Typewriter"/>
                  <a:cs typeface="American Typewriter"/>
                </a:rPr>
                <a:t>Wireless Products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2606890" y="3894961"/>
              <a:ext cx="2014501" cy="461666"/>
            </a:xfrm>
            <a:prstGeom prst="rect">
              <a:avLst/>
            </a:prstGeom>
            <a:noFill/>
            <a:ln>
              <a:solidFill>
                <a:srgbClr val="272A48"/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latin typeface="American Typewriter"/>
                  <a:cs typeface="American Typewriter"/>
                </a:rPr>
                <a:t>Platform Teams</a:t>
              </a:r>
            </a:p>
            <a:p>
              <a:endParaRPr lang="en-US" sz="1200" dirty="0" smtClean="0">
                <a:latin typeface="American Typewriter"/>
                <a:cs typeface="American Typewriter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621393" y="3564139"/>
              <a:ext cx="2226243" cy="276998"/>
            </a:xfrm>
            <a:prstGeom prst="rect">
              <a:avLst/>
            </a:prstGeom>
            <a:noFill/>
            <a:ln>
              <a:solidFill>
                <a:srgbClr val="272A48"/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latin typeface="American Typewriter"/>
                  <a:cs typeface="American Typewriter"/>
                </a:rPr>
                <a:t>Greenfield Initiatives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621391" y="3831467"/>
              <a:ext cx="2226243" cy="461665"/>
            </a:xfrm>
            <a:prstGeom prst="rect">
              <a:avLst/>
            </a:prstGeom>
            <a:noFill/>
            <a:ln>
              <a:solidFill>
                <a:srgbClr val="272A48"/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latin typeface="American Typewriter"/>
                  <a:cs typeface="American Typewriter"/>
                </a:rPr>
                <a:t>Information </a:t>
              </a:r>
            </a:p>
            <a:p>
              <a:r>
                <a:rPr lang="en-US" sz="1200" dirty="0" smtClean="0">
                  <a:latin typeface="American Typewriter"/>
                  <a:cs typeface="American Typewriter"/>
                </a:rPr>
                <a:t>Technology</a:t>
              </a: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5662083" y="196397"/>
            <a:ext cx="300566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 smtClean="0">
                <a:latin typeface="American Typewriter"/>
                <a:cs typeface="American Typewriter"/>
              </a:rPr>
              <a:t>Last 9 months .. </a:t>
            </a:r>
            <a:endParaRPr lang="en-US" sz="4400" dirty="0">
              <a:latin typeface="American Typewriter"/>
              <a:cs typeface="American Typewriter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653528" y="2030481"/>
            <a:ext cx="1860639" cy="36933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rgbClr val="272A48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dirty="0" err="1" smtClean="0">
                <a:latin typeface="American Typewriter"/>
                <a:cs typeface="American Typewriter"/>
              </a:rPr>
              <a:t>devOps</a:t>
            </a:r>
            <a:endParaRPr lang="en-US" dirty="0" smtClean="0">
              <a:latin typeface="American Typewriter"/>
              <a:cs typeface="American Typewriter"/>
            </a:endParaRPr>
          </a:p>
        </p:txBody>
      </p:sp>
      <p:sp>
        <p:nvSpPr>
          <p:cNvPr id="23" name="TextBox 22"/>
          <p:cNvSpPr txBox="1"/>
          <p:nvPr/>
        </p:nvSpPr>
        <p:spPr>
          <a:xfrm rot="20134973">
            <a:off x="5791375" y="2815810"/>
            <a:ext cx="3179219" cy="144655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4400" dirty="0" smtClean="0">
                <a:solidFill>
                  <a:schemeClr val="bg1"/>
                </a:solidFill>
                <a:latin typeface="Chalkduster"/>
                <a:cs typeface="Chalkduster"/>
              </a:rPr>
              <a:t>Lessons Learned</a:t>
            </a:r>
            <a:endParaRPr lang="en-US" sz="4400" dirty="0">
              <a:solidFill>
                <a:schemeClr val="bg1"/>
              </a:solidFill>
              <a:latin typeface="Chalkduster"/>
              <a:cs typeface="Chalkduster"/>
            </a:endParaRPr>
          </a:p>
        </p:txBody>
      </p:sp>
    </p:spTree>
    <p:extLst>
      <p:ext uri="{BB962C8B-B14F-4D97-AF65-F5344CB8AC3E}">
        <p14:creationId xmlns:p14="http://schemas.microsoft.com/office/powerpoint/2010/main" val="25760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 animBg="1"/>
      <p:bldP spid="18" grpId="0"/>
      <p:bldP spid="19" grpId="0" animBg="1"/>
      <p:bldP spid="23" grpId="0" animBg="1"/>
      <p:bldP spid="23" grpId="1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3090256" y="1724002"/>
            <a:ext cx="2078644" cy="72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75,04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422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2999" y="0"/>
            <a:ext cx="6523041" cy="4903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626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Title 1"/>
          <p:cNvSpPr txBox="1">
            <a:spLocks/>
          </p:cNvSpPr>
          <p:nvPr/>
        </p:nvSpPr>
        <p:spPr>
          <a:xfrm>
            <a:off x="82545" y="30627"/>
            <a:ext cx="8690399" cy="831600"/>
          </a:xfrm>
          <a:prstGeom prst="rect">
            <a:avLst/>
          </a:prstGeom>
          <a:noFill/>
          <a:effectLst/>
        </p:spPr>
        <p:txBody>
          <a:bodyPr vert="horz" wrap="square" lIns="91416" tIns="45708" rIns="91416" bIns="45708" rtlCol="0" anchor="t" anchorCtr="0">
            <a:noAutofit/>
          </a:bodyPr>
          <a:lstStyle>
            <a:lvl1pPr algn="l" defTabSz="6857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500" b="0" i="0" kern="1200" spc="0" baseline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 smtClean="0">
                <a:latin typeface="CiscoSansTT ExtraLight"/>
              </a:rPr>
              <a:t>Majority of teams develop features across multiple sites</a:t>
            </a:r>
            <a:br>
              <a:rPr lang="en-US" dirty="0" smtClean="0">
                <a:latin typeface="CiscoSansTT ExtraLight"/>
              </a:rPr>
            </a:br>
            <a:r>
              <a:rPr lang="en-US" sz="1600" dirty="0" smtClean="0">
                <a:latin typeface="CiscoSansTT ExtraLight"/>
              </a:rPr>
              <a:t> </a:t>
            </a:r>
            <a:endParaRPr lang="en-US" sz="1600" dirty="0">
              <a:latin typeface="CiscoSansTT ExtraLight"/>
            </a:endParaRPr>
          </a:p>
        </p:txBody>
      </p:sp>
      <p:graphicFrame>
        <p:nvGraphicFramePr>
          <p:cNvPr id="223" name="Object 150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8527048"/>
              </p:ext>
            </p:extLst>
          </p:nvPr>
        </p:nvGraphicFramePr>
        <p:xfrm>
          <a:off x="600073" y="1048179"/>
          <a:ext cx="6670677" cy="3203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53" name="Text Placeholder 952"/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409573" y="1035479"/>
            <a:ext cx="20955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C8E6778-203D-431C-8669-AF5E6F213E9D}" type="datetime'''''''''''''''''1''''''''''''''''0''''''''0'''''">
              <a:rPr lang="en-US" sz="1000" smtClean="0"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000" dirty="0">
              <a:sym typeface="+mn-lt"/>
            </a:endParaRPr>
          </a:p>
        </p:txBody>
      </p:sp>
      <p:sp>
        <p:nvSpPr>
          <p:cNvPr id="154" name="Text Placeholder 951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79423" y="1645079"/>
            <a:ext cx="13970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C368511-D315-4565-A037-2FF7F6DC6DB1}" type="datetime'''''8''0'''''''''''''''''''''''''''''''''">
              <a:rPr lang="en-US" sz="1000" smtClean="0"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0</a:t>
            </a:fld>
            <a:endParaRPr lang="en-US" sz="1000" dirty="0">
              <a:sym typeface="+mn-lt"/>
            </a:endParaRPr>
          </a:p>
        </p:txBody>
      </p:sp>
      <p:sp>
        <p:nvSpPr>
          <p:cNvPr id="155" name="Text Placeholder 950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79423" y="2254679"/>
            <a:ext cx="13970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88568C7-BF2F-41AD-B883-D77B46EA797E}" type="datetime'''6''0'''''''''''''''''''">
              <a:rPr lang="en-US" sz="1000" smtClean="0"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0</a:t>
            </a:fld>
            <a:endParaRPr lang="en-US" sz="1000" dirty="0">
              <a:sym typeface="+mn-lt"/>
            </a:endParaRPr>
          </a:p>
        </p:txBody>
      </p:sp>
      <p:sp>
        <p:nvSpPr>
          <p:cNvPr id="156" name="Text Placeholder 949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79423" y="2864279"/>
            <a:ext cx="13970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18AFB2A-39F9-48E5-A78F-7571D6DBCECF}" type="datetime'''''''''''''''''''4''''''''''''0'''''''''">
              <a:rPr lang="en-US" sz="1000" smtClean="0"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en-US" sz="1000" dirty="0">
              <a:sym typeface="+mn-lt"/>
            </a:endParaRPr>
          </a:p>
        </p:txBody>
      </p:sp>
      <p:sp>
        <p:nvSpPr>
          <p:cNvPr id="157" name="Text Placeholder 948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79423" y="3473879"/>
            <a:ext cx="13970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235EF6F-2533-440D-AE07-A4382680D0E0}" type="datetime'''''''''''''''''''''''''''''''''2''''0'">
              <a:rPr lang="en-US" sz="1000" smtClean="0"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000" dirty="0">
              <a:sym typeface="+mn-lt"/>
            </a:endParaRPr>
          </a:p>
        </p:txBody>
      </p:sp>
      <p:sp>
        <p:nvSpPr>
          <p:cNvPr id="159" name="Text Placeholder 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717800" y="4277154"/>
            <a:ext cx="4799010" cy="332946"/>
          </a:xfrm>
          <a:prstGeom prst="rect">
            <a:avLst/>
          </a:prstGeom>
          <a:noFill/>
          <a:effectLst/>
        </p:spPr>
        <p:txBody>
          <a:bodyPr wrap="none" lIns="0" tIns="0" rIns="0" bIns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0" dirty="0" smtClean="0">
                <a:latin typeface="American Typewriter"/>
                <a:cs typeface="American Typewriter"/>
                <a:sym typeface="+mn-lt"/>
              </a:rPr>
              <a:t>Major Cisco Lines of Business</a:t>
            </a:r>
            <a:endParaRPr lang="en-US" sz="1200" b="0" dirty="0">
              <a:latin typeface="American Typewriter"/>
              <a:cs typeface="American Typewriter"/>
              <a:sym typeface="+mn-lt"/>
            </a:endParaRPr>
          </a:p>
        </p:txBody>
      </p:sp>
      <p:sp>
        <p:nvSpPr>
          <p:cNvPr id="195" name="Text Placeholder 11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09573" y="751316"/>
            <a:ext cx="2419350" cy="182562"/>
          </a:xfrm>
          <a:prstGeom prst="rect">
            <a:avLst/>
          </a:prstGeom>
          <a:noFill/>
          <a:effectLst/>
        </p:spPr>
        <p:txBody>
          <a:bodyPr wrap="none" lIns="0" tIns="0" rIns="0" bIns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0" dirty="0" smtClean="0">
                <a:latin typeface="American Typewriter"/>
                <a:cs typeface="American Typewriter"/>
                <a:sym typeface="+mn-lt"/>
              </a:rPr>
              <a:t>% teams</a:t>
            </a:r>
            <a:endParaRPr lang="en-US" sz="1200" b="0" dirty="0">
              <a:latin typeface="American Typewriter"/>
              <a:cs typeface="American Typewriter"/>
              <a:sym typeface="+mn-lt"/>
            </a:endParaRPr>
          </a:p>
        </p:txBody>
      </p:sp>
      <p:cxnSp>
        <p:nvCxnSpPr>
          <p:cNvPr id="210" name="Straight Connector 209"/>
          <p:cNvCxnSpPr/>
          <p:nvPr/>
        </p:nvCxnSpPr>
        <p:spPr>
          <a:xfrm>
            <a:off x="6686548" y="1065427"/>
            <a:ext cx="0" cy="412750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7598566" y="1833408"/>
            <a:ext cx="117437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latin typeface="American Typewriter"/>
                <a:cs typeface="American Typewriter"/>
                <a:sym typeface="+mn-lt"/>
              </a:rPr>
              <a:t># </a:t>
            </a:r>
            <a:r>
              <a:rPr lang="en-US" sz="1600" dirty="0">
                <a:latin typeface="American Typewriter"/>
                <a:cs typeface="American Typewriter"/>
                <a:sym typeface="+mn-lt"/>
              </a:rPr>
              <a:t>sites </a:t>
            </a:r>
            <a:r>
              <a:rPr lang="en-US" sz="1600" dirty="0" smtClean="0">
                <a:latin typeface="American Typewriter"/>
                <a:cs typeface="American Typewriter"/>
                <a:sym typeface="+mn-lt"/>
              </a:rPr>
              <a:t> </a:t>
            </a:r>
            <a:endParaRPr lang="en-US" sz="1600" dirty="0">
              <a:latin typeface="American Typewriter"/>
              <a:cs typeface="American Typewriter"/>
              <a:sym typeface="+mn-lt"/>
            </a:endParaRPr>
          </a:p>
        </p:txBody>
      </p:sp>
      <p:cxnSp>
        <p:nvCxnSpPr>
          <p:cNvPr id="4" name="Straight Arrow Connector 3"/>
          <p:cNvCxnSpPr/>
          <p:nvPr/>
        </p:nvCxnSpPr>
        <p:spPr>
          <a:xfrm>
            <a:off x="2828923" y="4610100"/>
            <a:ext cx="353166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 flipH="1" flipV="1">
            <a:off x="398989" y="1346200"/>
            <a:ext cx="10584" cy="226102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7416799" y="2355850"/>
            <a:ext cx="192618" cy="140700"/>
          </a:xfrm>
          <a:prstGeom prst="rect">
            <a:avLst/>
          </a:prstGeom>
          <a:solidFill>
            <a:srgbClr val="296563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 flipH="1">
            <a:off x="7416798" y="1860550"/>
            <a:ext cx="181769" cy="210662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416800" y="2152650"/>
            <a:ext cx="181770" cy="2032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7416800" y="2071212"/>
            <a:ext cx="181770" cy="138588"/>
          </a:xfrm>
          <a:prstGeom prst="rect">
            <a:avLst/>
          </a:prstGeom>
          <a:solidFill>
            <a:srgbClr val="55A7AE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681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3636356" y="1470002"/>
            <a:ext cx="2078644" cy="72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198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801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92100"/>
            <a:ext cx="2616200" cy="19621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828" y="2463800"/>
            <a:ext cx="3674025" cy="24511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65800" y="3498415"/>
            <a:ext cx="2225905" cy="141648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6200" y="0"/>
            <a:ext cx="3619500" cy="206051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8228" y="1050867"/>
            <a:ext cx="3585772" cy="2197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041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47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5259395"/>
              </p:ext>
            </p:extLst>
          </p:nvPr>
        </p:nvGraphicFramePr>
        <p:xfrm>
          <a:off x="531813" y="1008063"/>
          <a:ext cx="3416300" cy="99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1"/>
          </a:graphicData>
        </a:graphic>
      </p:graphicFrame>
      <p:sp>
        <p:nvSpPr>
          <p:cNvPr id="149" name="Text Placeholder 458"/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323364" y="993973"/>
            <a:ext cx="20955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BDA381D0-237C-4AF7-8DC6-D1E43EF35621}" type="datetime'''''''''''1''''0''''''''''''''''''0''''''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100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150" name="Text Placeholder 459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393214" y="1413073"/>
            <a:ext cx="13970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10007DAC-43F5-4176-BDC0-E92E5F363681}" type="datetime'5''''''''''''''''''''''''''''''''''''''''''''''''0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50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151" name="Text Placeholder 417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63064" y="1832173"/>
            <a:ext cx="6985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271F509F-3FEA-4426-AAD2-617F8140E852}" type="datetime'''''''''''''''''''''''''''''''''''''''''''''''''''''0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cxnSp>
        <p:nvCxnSpPr>
          <p:cNvPr id="152" name="Straight Connector 151"/>
          <p:cNvCxnSpPr/>
          <p:nvPr>
            <p:custDataLst>
              <p:tags r:id="rId5"/>
            </p:custDataLst>
          </p:nvPr>
        </p:nvCxnSpPr>
        <p:spPr bwMode="gray">
          <a:xfrm>
            <a:off x="1553676" y="1787723"/>
            <a:ext cx="0" cy="73025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53" name="Straight Connector 152"/>
          <p:cNvCxnSpPr/>
          <p:nvPr>
            <p:custDataLst>
              <p:tags r:id="rId6"/>
            </p:custDataLst>
          </p:nvPr>
        </p:nvCxnSpPr>
        <p:spPr bwMode="gray">
          <a:xfrm>
            <a:off x="1963251" y="1854398"/>
            <a:ext cx="0" cy="39687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54" name="Straight Connector 153"/>
          <p:cNvCxnSpPr/>
          <p:nvPr>
            <p:custDataLst>
              <p:tags r:id="rId7"/>
            </p:custDataLst>
          </p:nvPr>
        </p:nvCxnSpPr>
        <p:spPr bwMode="gray">
          <a:xfrm>
            <a:off x="1758464" y="1797248"/>
            <a:ext cx="0" cy="68262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sp>
        <p:nvSpPr>
          <p:cNvPr id="155" name="Text Placeholder 460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23364" y="709810"/>
            <a:ext cx="1520825" cy="182562"/>
          </a:xfrm>
          <a:prstGeom prst="rect">
            <a:avLst/>
          </a:prstGeom>
          <a:noFill/>
          <a:effectLst/>
        </p:spPr>
        <p:txBody>
          <a:bodyPr wrap="none" lIns="0" tIns="0" rIns="0" bIns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-25000" noProof="0" dirty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  <a:sym typeface="+mn-lt"/>
              </a:rPr>
              <a:t>% of embedded teams</a:t>
            </a:r>
            <a:endParaRPr kumimoji="0" lang="en-US" sz="12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156" name="Text Placeholder 440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 flipV="1">
            <a:off x="2701439" y="2025848"/>
            <a:ext cx="152400" cy="338137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1557FF9-AAEF-4E79-91F9-6B9B23F14B79}" type="datetime'''VH''''''''D''''''''''''''''L'''''''">
              <a:rPr lang="en-US" sz="1000" b="0" baseline="-25000" smtClean="0">
                <a:latin typeface="CiscoSansTT Light"/>
                <a:sym typeface="CiscoSansTT Ligh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VHDL</a:t>
            </a:fld>
            <a:endParaRPr lang="en-US" sz="1000" b="0" baseline="-25000" dirty="0">
              <a:latin typeface="CiscoSansTT Light"/>
              <a:sym typeface="CiscoSansTT Light"/>
            </a:endParaRPr>
          </a:p>
        </p:txBody>
      </p:sp>
      <p:sp>
        <p:nvSpPr>
          <p:cNvPr id="157" name="Text Placeholder 439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 flipV="1">
            <a:off x="2496651" y="2025848"/>
            <a:ext cx="152400" cy="30956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28A80A89-B39C-4CB7-9C4B-370B90C1178A}" type="datetime'''''''F''l''''''''''''a''''''s''''''''''h''''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Flash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CiscoSansTT Light"/>
            </a:endParaRPr>
          </a:p>
        </p:txBody>
      </p:sp>
      <p:sp>
        <p:nvSpPr>
          <p:cNvPr id="158" name="Text Placeholder 438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 flipV="1">
            <a:off x="2296626" y="2025848"/>
            <a:ext cx="152400" cy="16192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EC9C4941-D262-4B9D-84C4-AD3D79E0B391}" type="datetime'''''''C''''''''''''''''''#''''''''''''''''''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C#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CiscoSansTT Light"/>
            </a:endParaRPr>
          </a:p>
        </p:txBody>
      </p:sp>
      <p:sp>
        <p:nvSpPr>
          <p:cNvPr id="159" name="Text Placeholder 437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 flipV="1">
            <a:off x="2091839" y="2025848"/>
            <a:ext cx="152400" cy="54927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523C8833-6E97-4E69-A463-C00FD1D31F16}" type="datetime'''''As''''''''''''''''''s''''''''e''m''''''bly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Assembly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CiscoSansTT Light"/>
            </a:endParaRPr>
          </a:p>
        </p:txBody>
      </p:sp>
      <p:sp>
        <p:nvSpPr>
          <p:cNvPr id="160" name="Text Placeholder 436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 flipV="1">
            <a:off x="1887051" y="2025848"/>
            <a:ext cx="152400" cy="41592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D62CD936-FABA-4F10-A704-C68E694B9E8C}" type="datetime'''''''''H''''''''''''''''''''T''M''''''''''''L''''5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HTML5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CiscoSansTT Light"/>
            </a:endParaRPr>
          </a:p>
        </p:txBody>
      </p:sp>
      <p:sp>
        <p:nvSpPr>
          <p:cNvPr id="161" name="Text Placeholder 435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 flipV="1">
            <a:off x="1682264" y="2025848"/>
            <a:ext cx="152400" cy="56991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CCDBB52-C9C1-4F8C-8DA9-97C163C9234C}" type="datetime'J''''''a''''''va''''''''''''s''''cr''ip''''''''t'''''''''''">
              <a:rPr lang="en-US" sz="1000" b="0" baseline="-25000" smtClean="0">
                <a:latin typeface="CiscoSansTT Light"/>
                <a:sym typeface="CiscoSansTT Ligh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Javascript</a:t>
            </a:fld>
            <a:endParaRPr lang="en-US" sz="1000" b="0" baseline="-25000" dirty="0">
              <a:latin typeface="CiscoSansTT Light"/>
              <a:sym typeface="CiscoSansTT Light"/>
            </a:endParaRPr>
          </a:p>
        </p:txBody>
      </p:sp>
      <p:sp>
        <p:nvSpPr>
          <p:cNvPr id="162" name="Text Placeholder 434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 flipV="1">
            <a:off x="1477476" y="2025848"/>
            <a:ext cx="152400" cy="23971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71C5800-EC08-4ED7-82DF-43B334AE4AC1}" type="datetime'T''''C''''''''''''''''''L'''''''''''''''''''''''">
              <a:rPr lang="en-US" sz="1000" b="0" baseline="-25000" smtClean="0">
                <a:latin typeface="CiscoSansTT Light"/>
                <a:sym typeface="CiscoSansTT Ligh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CL</a:t>
            </a:fld>
            <a:endParaRPr lang="en-US" sz="1000" b="0" baseline="-25000" dirty="0">
              <a:latin typeface="CiscoSansTT Light"/>
              <a:sym typeface="CiscoSansTT Light"/>
            </a:endParaRPr>
          </a:p>
        </p:txBody>
      </p:sp>
      <p:sp>
        <p:nvSpPr>
          <p:cNvPr id="163" name="Text Placeholder 43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 flipV="1">
            <a:off x="1272689" y="2025848"/>
            <a:ext cx="152400" cy="39211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1D57FAA4-F6B1-4689-9303-3F16A3AC0408}" type="datetime'P''''''''''''''yt''''''''h''''''''''''''''''''o''''''n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Python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CiscoSansTT Light"/>
            </a:endParaRPr>
          </a:p>
        </p:txBody>
      </p:sp>
      <p:sp>
        <p:nvSpPr>
          <p:cNvPr id="165" name="Text Placeholder 426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 flipV="1">
            <a:off x="1067901" y="2025848"/>
            <a:ext cx="152400" cy="26670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843CF994-BD45-426C-A2FC-AC0F5E76AC62}" type="datetime'J''''''''''a''''v''''''''a''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Java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167" name="Text Placeholder 425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 flipV="1">
            <a:off x="863114" y="2025848"/>
            <a:ext cx="152400" cy="24130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E213A095-591E-4C1A-B883-11AE83F7E6EC}" type="datetime'''''''''''C''''''''''''''''''''''''''''''''''+''''''''''''+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C++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169" name="Text Placeholder 424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 flipV="1">
            <a:off x="658326" y="2025848"/>
            <a:ext cx="152400" cy="9207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E3AA6C00-C8DF-4E64-B45C-AE9BBF7B358F}" type="datetime'''''''''''''''''''''''''''''''''''''C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C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171" name="Text Placeholder 901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 flipV="1">
            <a:off x="2906226" y="2025848"/>
            <a:ext cx="152400" cy="287337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B4840C4-BFC1-49BB-9F00-7245E9987C35}" type="datetime'''''''''''''''''Ba''''''''''''''''''''''''''''''sh'''''">
              <a:rPr lang="en-US" sz="1000" baseline="-25000" smtClean="0">
                <a:latin typeface="CiscoSansTT Light"/>
                <a:sym typeface="CiscoSansTT Ligh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Bash</a:t>
            </a:fld>
            <a:endParaRPr lang="en-US" sz="1000" baseline="-25000" dirty="0">
              <a:latin typeface="CiscoSansTT Light"/>
              <a:sym typeface="CiscoSansTT Light"/>
            </a:endParaRPr>
          </a:p>
        </p:txBody>
      </p:sp>
      <p:sp>
        <p:nvSpPr>
          <p:cNvPr id="172" name="Text Placeholder 90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 flipV="1">
            <a:off x="3111014" y="2025848"/>
            <a:ext cx="152400" cy="26035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CBD7FEC-FC3A-4A1F-B2C0-5D968C283426}" type="datetime'''''''''''''''C''''''''''''''''''''''''''S''''''''S'''''''''''">
              <a:rPr lang="en-US" sz="1000" baseline="-25000" smtClean="0">
                <a:latin typeface="CiscoSansTT Light"/>
                <a:sym typeface="CiscoSansTT Ligh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CSS</a:t>
            </a:fld>
            <a:endParaRPr lang="en-US" sz="1000" baseline="-25000" dirty="0">
              <a:latin typeface="CiscoSansTT Light"/>
              <a:sym typeface="CiscoSansTT Light"/>
            </a:endParaRPr>
          </a:p>
        </p:txBody>
      </p:sp>
      <p:sp>
        <p:nvSpPr>
          <p:cNvPr id="173" name="Text Placeholder 90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 flipV="1">
            <a:off x="3315801" y="2025848"/>
            <a:ext cx="152400" cy="71120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3331DDF-8864-4F1E-B7FC-655D6FD82CA6}" type="datetime'H''''T''M''L'' ''/'''' ''''''''''C''''''''SS'''''''">
              <a:rPr lang="en-US" sz="1000" baseline="-25000" smtClean="0">
                <a:latin typeface="CiscoSansTT Light"/>
                <a:sym typeface="CiscoSansTT Ligh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HTML / CSS</a:t>
            </a:fld>
            <a:endParaRPr lang="en-US" sz="1000" baseline="-25000" dirty="0">
              <a:latin typeface="CiscoSansTT Light"/>
              <a:sym typeface="CiscoSansTT Light"/>
            </a:endParaRPr>
          </a:p>
        </p:txBody>
      </p:sp>
      <p:sp>
        <p:nvSpPr>
          <p:cNvPr id="174" name="Text Placeholder 904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 flipV="1">
            <a:off x="3520589" y="2025848"/>
            <a:ext cx="152400" cy="58420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0B48482-48B2-4F4A-B504-B94EB9CE6B29}" type="datetime'M''''''''ic''''''''''''''r''o''''''c''''o''de'''''''''''''''">
              <a:rPr lang="en-US" sz="1000" baseline="-25000" smtClean="0">
                <a:latin typeface="CiscoSansTT Light"/>
                <a:sym typeface="CiscoSansTT Ligh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icrocode</a:t>
            </a:fld>
            <a:endParaRPr lang="en-US" sz="1000" baseline="-25000" dirty="0">
              <a:latin typeface="CiscoSansTT Light"/>
              <a:sym typeface="CiscoSansTT Light"/>
            </a:endParaRPr>
          </a:p>
        </p:txBody>
      </p:sp>
      <p:sp>
        <p:nvSpPr>
          <p:cNvPr id="175" name="Text Placeholder 905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 flipV="1">
            <a:off x="3725376" y="2025848"/>
            <a:ext cx="152400" cy="29527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2DBA540-C7F0-46FA-8295-AEFC4302486E}" type="datetime'''''P''''''e''a''''''''''''''''''r''''l'''''''''''">
              <a:rPr lang="en-US" sz="1000" baseline="-25000" smtClean="0">
                <a:latin typeface="CiscoSansTT Light"/>
                <a:sym typeface="CiscoSansTT Ligh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Pearl</a:t>
            </a:fld>
            <a:endParaRPr lang="en-US" sz="1000" baseline="-25000" dirty="0">
              <a:latin typeface="CiscoSansTT Light"/>
              <a:sym typeface="CiscoSansTT Light"/>
            </a:endParaRPr>
          </a:p>
        </p:txBody>
      </p:sp>
      <p:sp>
        <p:nvSpPr>
          <p:cNvPr id="176" name="Rectangle 2"/>
          <p:cNvSpPr>
            <a:spLocks noChangeArrowheads="1"/>
          </p:cNvSpPr>
          <p:nvPr/>
        </p:nvSpPr>
        <p:spPr bwMode="gray">
          <a:xfrm>
            <a:off x="139214" y="234672"/>
            <a:ext cx="3962400" cy="348813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rgbClr val="00A2BF"/>
            </a:outerShdw>
          </a:effectLst>
        </p:spPr>
        <p:txBody>
          <a:bodyPr tIns="91440" bIns="9144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-2500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CiscoSansTT Light"/>
                <a:cs typeface="Arial" pitchFamily="34" charset="0"/>
                <a:sym typeface="CiscoSansTT Light"/>
              </a:rPr>
              <a:t>Embedded</a:t>
            </a:r>
            <a:endParaRPr kumimoji="0" lang="en-US" sz="1600" b="0" i="0" u="none" strike="noStrike" kern="0" cap="none" spc="0" normalizeH="0" baseline="-25000" noProof="0" dirty="0">
              <a:ln>
                <a:noFill/>
              </a:ln>
              <a:solidFill>
                <a:srgbClr val="00A2BF"/>
              </a:solidFill>
              <a:effectLst/>
              <a:uLnTx/>
              <a:uFillTx/>
              <a:latin typeface="CiscoSansTT Light"/>
              <a:cs typeface="Arial" pitchFamily="34" charset="0"/>
              <a:sym typeface="CiscoSansTT Light"/>
            </a:endParaRPr>
          </a:p>
        </p:txBody>
      </p:sp>
      <p:sp>
        <p:nvSpPr>
          <p:cNvPr id="177" name="Rectangle 2"/>
          <p:cNvSpPr>
            <a:spLocks noChangeArrowheads="1"/>
          </p:cNvSpPr>
          <p:nvPr/>
        </p:nvSpPr>
        <p:spPr bwMode="gray">
          <a:xfrm>
            <a:off x="4865202" y="234672"/>
            <a:ext cx="3962400" cy="348813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rgbClr val="00A2BF"/>
            </a:outerShdw>
          </a:effectLst>
        </p:spPr>
        <p:txBody>
          <a:bodyPr tIns="91440" bIns="9144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-2500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CiscoSansTT Light"/>
                <a:cs typeface="Arial" pitchFamily="34" charset="0"/>
                <a:sym typeface="CiscoSansTT Light"/>
              </a:rPr>
              <a:t>Application</a:t>
            </a:r>
            <a:endParaRPr kumimoji="0" lang="en-US" sz="1600" b="0" i="0" u="none" strike="noStrike" kern="0" cap="none" spc="0" normalizeH="0" baseline="-25000" noProof="0" dirty="0">
              <a:ln>
                <a:noFill/>
              </a:ln>
              <a:solidFill>
                <a:srgbClr val="00A2BF"/>
              </a:solidFill>
              <a:effectLst/>
              <a:uLnTx/>
              <a:uFillTx/>
              <a:latin typeface="CiscoSansTT Light"/>
              <a:cs typeface="Arial" pitchFamily="34" charset="0"/>
              <a:sym typeface="CiscoSansTT Light"/>
            </a:endParaRPr>
          </a:p>
        </p:txBody>
      </p:sp>
      <p:sp>
        <p:nvSpPr>
          <p:cNvPr id="178" name="Rectangle 2"/>
          <p:cNvSpPr>
            <a:spLocks noChangeArrowheads="1"/>
          </p:cNvSpPr>
          <p:nvPr/>
        </p:nvSpPr>
        <p:spPr bwMode="gray">
          <a:xfrm>
            <a:off x="182077" y="2776378"/>
            <a:ext cx="3962400" cy="348813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rgbClr val="00A2BF"/>
            </a:outerShdw>
          </a:effectLst>
        </p:spPr>
        <p:txBody>
          <a:bodyPr tIns="91440" bIns="9144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-2500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CiscoSansTT Light"/>
                <a:cs typeface="Arial" pitchFamily="34" charset="0"/>
                <a:sym typeface="CiscoSansTT Light"/>
              </a:rPr>
              <a:t>Infrastructure</a:t>
            </a:r>
            <a:endParaRPr kumimoji="0" lang="en-US" sz="1600" b="0" i="0" u="none" strike="noStrike" kern="0" cap="none" spc="0" normalizeH="0" baseline="-25000" noProof="0" dirty="0">
              <a:ln>
                <a:noFill/>
              </a:ln>
              <a:solidFill>
                <a:srgbClr val="00A2BF"/>
              </a:solidFill>
              <a:effectLst/>
              <a:uLnTx/>
              <a:uFillTx/>
              <a:latin typeface="CiscoSansTT Light"/>
              <a:cs typeface="Arial" pitchFamily="34" charset="0"/>
              <a:sym typeface="CiscoSansTT Light"/>
            </a:endParaRPr>
          </a:p>
        </p:txBody>
      </p:sp>
      <p:sp>
        <p:nvSpPr>
          <p:cNvPr id="179" name="Rectangle 2"/>
          <p:cNvSpPr>
            <a:spLocks noChangeArrowheads="1"/>
          </p:cNvSpPr>
          <p:nvPr/>
        </p:nvSpPr>
        <p:spPr bwMode="gray">
          <a:xfrm>
            <a:off x="4908065" y="2776378"/>
            <a:ext cx="3962400" cy="348813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rgbClr val="00A2BF"/>
            </a:outerShdw>
          </a:effectLst>
        </p:spPr>
        <p:txBody>
          <a:bodyPr tIns="91440" bIns="9144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-2500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CiscoSansTT Light"/>
                <a:cs typeface="Arial" pitchFamily="34" charset="0"/>
                <a:sym typeface="CiscoSansTT Light"/>
              </a:rPr>
              <a:t>Cloud</a:t>
            </a:r>
            <a:endParaRPr kumimoji="0" lang="en-US" sz="1600" b="0" i="0" u="none" strike="noStrike" kern="0" cap="none" spc="0" normalizeH="0" baseline="-25000" noProof="0" dirty="0">
              <a:ln>
                <a:noFill/>
              </a:ln>
              <a:solidFill>
                <a:srgbClr val="00A2BF"/>
              </a:solidFill>
              <a:effectLst/>
              <a:uLnTx/>
              <a:uFillTx/>
              <a:latin typeface="CiscoSansTT Light"/>
              <a:cs typeface="Arial" pitchFamily="34" charset="0"/>
              <a:sym typeface="CiscoSansTT Light"/>
            </a:endParaRPr>
          </a:p>
        </p:txBody>
      </p:sp>
      <p:graphicFrame>
        <p:nvGraphicFramePr>
          <p:cNvPr id="3" name="Object 179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92372192"/>
              </p:ext>
            </p:extLst>
          </p:nvPr>
        </p:nvGraphicFramePr>
        <p:xfrm>
          <a:off x="4952514" y="1006673"/>
          <a:ext cx="3422650" cy="993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2"/>
          </a:graphicData>
        </a:graphic>
      </p:graphicFrame>
      <p:sp>
        <p:nvSpPr>
          <p:cNvPr id="181" name="Text Placeholder 417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892189" y="1832173"/>
            <a:ext cx="6985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222D0E1A-5BE0-4A06-AFD6-6198BDDFA1CA}" type="datetime'''''''''''''''''''''''''''''''''''''''0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182" name="Text Placeholder 50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822339" y="1413073"/>
            <a:ext cx="13970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052FDA6F-B004-4912-84E4-45D55C1B8D03}" type="datetime'5''''''''''''''''''''''''''''''0''''''''''''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50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183" name="Text Placeholder 458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752489" y="993973"/>
            <a:ext cx="20955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7DD23433-CFE3-43B8-8F20-42DB6DC69674}" type="datetime'''''''10''''''''''''''''''''''''''''''0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100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cxnSp>
        <p:nvCxnSpPr>
          <p:cNvPr id="184" name="Straight Connector 183"/>
          <p:cNvCxnSpPr/>
          <p:nvPr>
            <p:custDataLst>
              <p:tags r:id="rId29"/>
            </p:custDataLst>
          </p:nvPr>
        </p:nvCxnSpPr>
        <p:spPr bwMode="gray">
          <a:xfrm>
            <a:off x="6616214" y="1835348"/>
            <a:ext cx="0" cy="49212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85" name="Straight Connector 184"/>
          <p:cNvCxnSpPr/>
          <p:nvPr>
            <p:custDataLst>
              <p:tags r:id="rId30"/>
            </p:custDataLst>
          </p:nvPr>
        </p:nvCxnSpPr>
        <p:spPr bwMode="gray">
          <a:xfrm>
            <a:off x="6125676" y="1825823"/>
            <a:ext cx="0" cy="53975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86" name="Straight Connector 185"/>
          <p:cNvCxnSpPr/>
          <p:nvPr>
            <p:custDataLst>
              <p:tags r:id="rId31"/>
            </p:custDataLst>
          </p:nvPr>
        </p:nvCxnSpPr>
        <p:spPr bwMode="gray">
          <a:xfrm>
            <a:off x="5963751" y="1806773"/>
            <a:ext cx="0" cy="6350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87" name="Straight Connector 186"/>
          <p:cNvCxnSpPr/>
          <p:nvPr>
            <p:custDataLst>
              <p:tags r:id="rId32"/>
            </p:custDataLst>
          </p:nvPr>
        </p:nvCxnSpPr>
        <p:spPr bwMode="gray">
          <a:xfrm>
            <a:off x="6449526" y="1835348"/>
            <a:ext cx="0" cy="49212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88" name="Straight Connector 187"/>
          <p:cNvCxnSpPr/>
          <p:nvPr>
            <p:custDataLst>
              <p:tags r:id="rId33"/>
            </p:custDataLst>
          </p:nvPr>
        </p:nvCxnSpPr>
        <p:spPr bwMode="gray">
          <a:xfrm>
            <a:off x="6287601" y="1825823"/>
            <a:ext cx="0" cy="53975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89" name="Straight Connector 188"/>
          <p:cNvCxnSpPr/>
          <p:nvPr>
            <p:custDataLst>
              <p:tags r:id="rId34"/>
            </p:custDataLst>
          </p:nvPr>
        </p:nvCxnSpPr>
        <p:spPr bwMode="gray">
          <a:xfrm>
            <a:off x="6944826" y="1863923"/>
            <a:ext cx="0" cy="34925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90" name="Straight Connector 189"/>
          <p:cNvCxnSpPr/>
          <p:nvPr>
            <p:custDataLst>
              <p:tags r:id="rId35"/>
            </p:custDataLst>
          </p:nvPr>
        </p:nvCxnSpPr>
        <p:spPr bwMode="gray">
          <a:xfrm>
            <a:off x="6782901" y="1844873"/>
            <a:ext cx="0" cy="4445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sp>
        <p:nvSpPr>
          <p:cNvPr id="191" name="Text Placeholder 438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 flipV="1">
            <a:off x="6373326" y="2025848"/>
            <a:ext cx="152400" cy="16192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58942BD2-B382-48D3-8416-C7580535795A}" type="datetime'''C''#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C#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192" name="Text Placeholder 437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 flipV="1">
            <a:off x="6211401" y="2025848"/>
            <a:ext cx="152400" cy="41592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1F04AE56-C93A-40A0-8D0A-A633CFAA9769}" type="datetime'H''''''''''''''''''T''''''''''''ML''''''5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HTML5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193" name="Text Placeholder 434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 flipV="1">
            <a:off x="5725626" y="2025848"/>
            <a:ext cx="152400" cy="56991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E36641F6-7095-4F4F-BBB1-AC85AEBF3461}" type="datetime'J''''''''''ava''''''s''''''cri''''pt''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Javascript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195" name="Text Placeholder 440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 flipV="1">
            <a:off x="6706701" y="2025848"/>
            <a:ext cx="152400" cy="26035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CF717FA2-E883-4554-BF79-0B72878B18B5}" type="datetime'''''''C''''''''''''''''S''''''''''''S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CSS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196" name="Text Placeholder 478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 flipV="1">
            <a:off x="6868626" y="2025848"/>
            <a:ext cx="152400" cy="54927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B07CC875-CF86-4B70-A1C2-77EFD45218D3}" type="datetime'''''''A''ss''''e''''m''''''''''''''''''bl''''''''''''''y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Assembly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197" name="Text Placeholder 439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 flipV="1">
            <a:off x="6540014" y="2025849"/>
            <a:ext cx="152400" cy="661987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388ADCFC-5583-44AD-934E-B2196D28323A}" type="datetime'''''''''''O''b''''je''''''''c''''''t''''''''''''i''v''e-C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Objective-C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198" name="Text Placeholder 479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 flipV="1">
            <a:off x="7030551" y="2025848"/>
            <a:ext cx="152400" cy="36512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1C24023E-32CD-4DE2-94FC-1EBDB1BA3180}" type="datetime'''E''''r''''''''l''''''''''a''''''''n''''''''''''''''g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Erlang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199" name="Text Placeholder 460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752489" y="709810"/>
            <a:ext cx="1528762" cy="182562"/>
          </a:xfrm>
          <a:prstGeom prst="rect">
            <a:avLst/>
          </a:prstGeom>
          <a:noFill/>
          <a:effectLst/>
        </p:spPr>
        <p:txBody>
          <a:bodyPr wrap="none" lIns="0" tIns="0" rIns="0" bIns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-25000" noProof="0" dirty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  <a:sym typeface="+mn-lt"/>
              </a:rPr>
              <a:t>% of application teams</a:t>
            </a:r>
            <a:endParaRPr kumimoji="0" lang="en-US" sz="12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200" name="Text Placeholder 495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 flipV="1">
            <a:off x="8011626" y="2025848"/>
            <a:ext cx="152400" cy="280987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DB38C7F-3499-4349-9A94-2F9A09AAA5EE}" type="datetime'''S''''''''''''''''''''''h''''el''''''''''''''''''''''''''''l'">
              <a:rPr lang="en-US" sz="1000" b="0" baseline="-25000" smtClean="0">
                <a:latin typeface="CiscoSansTT Light"/>
                <a:sym typeface="CiscoSansTT Ligh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hell</a:t>
            </a:fld>
            <a:endParaRPr lang="en-US" sz="1000" b="0" baseline="-25000" dirty="0">
              <a:latin typeface="CiscoSansTT Light"/>
              <a:sym typeface="CiscoSansTT Light"/>
            </a:endParaRPr>
          </a:p>
        </p:txBody>
      </p:sp>
      <p:sp>
        <p:nvSpPr>
          <p:cNvPr id="201" name="Text Placeholder 494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 flipV="1">
            <a:off x="7849701" y="2025848"/>
            <a:ext cx="152400" cy="31591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2946FE1-8FC8-4EE8-B323-06B00BE1B383}" type="datetime'''''''S''c''''''''''''a''''''''l''''a'''''''''''''''''''''">
              <a:rPr lang="en-US" sz="1000" b="0" baseline="-25000" smtClean="0">
                <a:latin typeface="CiscoSansTT Light"/>
                <a:sym typeface="CiscoSansTT Ligh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cala</a:t>
            </a:fld>
            <a:endParaRPr lang="en-US" sz="1000" b="0" baseline="-25000" dirty="0">
              <a:latin typeface="CiscoSansTT Light"/>
              <a:sym typeface="CiscoSansTT Light"/>
            </a:endParaRPr>
          </a:p>
        </p:txBody>
      </p:sp>
      <p:sp>
        <p:nvSpPr>
          <p:cNvPr id="202" name="Text Placeholder 483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 flipV="1">
            <a:off x="7683014" y="2025848"/>
            <a:ext cx="152400" cy="17621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D6A90007-71EF-4D6A-BE3C-E8113E482E74}" type="datetime'''Q''''T''''''''''''''''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QT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03" name="Text Placeholder 480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 flipV="1">
            <a:off x="7192476" y="2025848"/>
            <a:ext cx="152400" cy="37147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405F4F77-EF52-429E-9E82-F545930938EA}" type="datetime'''''''''''''''''''''''A''''''u''''to''I''''''''''''T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AutoIT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04" name="Text Placeholder 482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 flipV="1">
            <a:off x="7516326" y="2025848"/>
            <a:ext cx="152400" cy="22542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2C619473-7706-457D-B33E-6CE649F32423}" type="datetime'P''''''''''''e''''''''''''''r''''l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Perl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05" name="Text Placeholder 481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 flipV="1">
            <a:off x="7354401" y="2025848"/>
            <a:ext cx="152400" cy="29527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861935BE-3DD7-4FCA-A64B-0124751745A7}" type="datetime'''''Pe''''''''''''''''''''''''''''''''''''''''''a''''''''r''l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Pearl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06" name="Text Placeholder 433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 flipV="1">
            <a:off x="5558939" y="2025848"/>
            <a:ext cx="152400" cy="39211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D5829D08-4828-47A9-9D0C-0E1EA26D4898}" type="datetime'''''P''''''''''''''''''''''''''y''t''''''h''''''o''n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Python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08" name="Text Placeholder 426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 flipV="1">
            <a:off x="5392251" y="2025848"/>
            <a:ext cx="152400" cy="9207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07010485-A382-4237-8211-AD44AB3C3790}" type="datetime'''''''''C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C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210" name="Text Placeholder 425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 flipV="1">
            <a:off x="5230326" y="2025848"/>
            <a:ext cx="152400" cy="24130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263864CC-9490-4EEC-A45F-C1FA8AA23A7C}" type="datetime'''''''''C''''''''''''''''''''++''''''''''''''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C++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212" name="Text Placeholder 424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 flipV="1">
            <a:off x="5068401" y="2025848"/>
            <a:ext cx="152400" cy="26670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937DD525-A283-4D2B-8D9F-4299AF170A39}" type="datetime'''''''J''''''a''''v''''a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Java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214" name="Text Placeholder 919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 flipV="1">
            <a:off x="8173551" y="2025848"/>
            <a:ext cx="152400" cy="338137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16A2ED6-5EE7-4FB9-884B-8D5658D6FA6C}" type="datetime'V''''''''H''''''''''''D''''''L'''''''''''''">
              <a:rPr lang="en-US" sz="1000" baseline="-25000" smtClean="0">
                <a:latin typeface="CiscoSansTT Light"/>
                <a:sym typeface="CiscoSansTT Ligh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VHDL</a:t>
            </a:fld>
            <a:endParaRPr lang="en-US" sz="1000" baseline="-25000" dirty="0">
              <a:latin typeface="CiscoSansTT Light"/>
              <a:sym typeface="CiscoSansTT Light"/>
            </a:endParaRPr>
          </a:p>
        </p:txBody>
      </p:sp>
      <p:sp>
        <p:nvSpPr>
          <p:cNvPr id="215" name="Text Placeholder 436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 flipV="1">
            <a:off x="6049476" y="2025848"/>
            <a:ext cx="152400" cy="71120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5CD3749D-1C0A-4931-B3AC-43D720BEC403}" type="datetime'''''''''H''T''''''M''''L'''''''''' / ''C''''''''S''S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HTML / CSS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16" name="Text Placeholder 435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 flipV="1">
            <a:off x="5887551" y="2025848"/>
            <a:ext cx="152400" cy="23971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AEDA762D-2391-4B16-86DA-52E354AE9B51}" type="datetime'''''''''''''''''''''''''''''''''''''T''''''''''''''CL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TCL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graphicFrame>
        <p:nvGraphicFramePr>
          <p:cNvPr id="5" name="Object 216"/>
          <p:cNvGraphicFramePr>
            <a:graphicFrameLocks noChangeAspect="1"/>
          </p:cNvGraphicFramePr>
          <p:nvPr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1976876547"/>
              </p:ext>
            </p:extLst>
          </p:nvPr>
        </p:nvGraphicFramePr>
        <p:xfrm>
          <a:off x="575777" y="3510279"/>
          <a:ext cx="3413125" cy="993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3"/>
          </a:graphicData>
        </a:graphic>
      </p:graphicFrame>
      <p:sp>
        <p:nvSpPr>
          <p:cNvPr id="218" name="Text Placeholder 417"/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505927" y="4335779"/>
            <a:ext cx="6985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522C352D-9D9A-4A80-AB5A-E67149B37826}" type="datetime'''''''''''''''''''''''0''''''''''''''''''''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219" name="Text Placeholder 520"/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366227" y="3497579"/>
            <a:ext cx="20955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7D22B812-CB6C-41FC-8214-69CE8AA1CEC1}" type="datetime'''''''''''''1''''''''''''''''''''''''''''0''''''''''''''''0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100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220" name="Text Placeholder 519"/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436077" y="3916679"/>
            <a:ext cx="13970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A8252B45-66C1-407D-A4EF-C8AA10666E8E}" type="datetime'''''''''''''''''''''''''''50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50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cxnSp>
        <p:nvCxnSpPr>
          <p:cNvPr id="221" name="Straight Connector 220"/>
          <p:cNvCxnSpPr/>
          <p:nvPr>
            <p:custDataLst>
              <p:tags r:id="rId61"/>
            </p:custDataLst>
          </p:nvPr>
        </p:nvCxnSpPr>
        <p:spPr bwMode="gray">
          <a:xfrm>
            <a:off x="1501289" y="4234179"/>
            <a:ext cx="0" cy="10160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222" name="Straight Connector 221"/>
          <p:cNvCxnSpPr/>
          <p:nvPr>
            <p:custDataLst>
              <p:tags r:id="rId62"/>
            </p:custDataLst>
          </p:nvPr>
        </p:nvCxnSpPr>
        <p:spPr bwMode="gray">
          <a:xfrm>
            <a:off x="1848952" y="4348479"/>
            <a:ext cx="0" cy="4445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223" name="Straight Connector 222"/>
          <p:cNvCxnSpPr/>
          <p:nvPr>
            <p:custDataLst>
              <p:tags r:id="rId63"/>
            </p:custDataLst>
          </p:nvPr>
        </p:nvCxnSpPr>
        <p:spPr bwMode="gray">
          <a:xfrm>
            <a:off x="1667977" y="4348479"/>
            <a:ext cx="0" cy="4445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sp>
        <p:nvSpPr>
          <p:cNvPr id="224" name="Text Placeholder 437"/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 flipV="1">
            <a:off x="1953727" y="4529454"/>
            <a:ext cx="152400" cy="23971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3F8E74D6-AFF7-476D-9A90-FFD56AF64065}" type="datetime'T''''C''''''''''''''''''''''''''''L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TCL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25" name="Text Placeholder 436"/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 flipV="1">
            <a:off x="1772752" y="4529454"/>
            <a:ext cx="152400" cy="71120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7D1BEF8A-A9DA-4E8B-B828-7DC574FBED31}" type="datetime'''''''''H''''''TM''''''''''''''L / ''C''''''''S''''''''S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HTML / CSS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28" name="Text Placeholder 438"/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 flipV="1">
            <a:off x="2139464" y="4529454"/>
            <a:ext cx="152400" cy="287337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9447B49E-D58E-4CA6-9819-7E87907B7AC4}" type="datetime'''''Ba''''''''''s''h''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Bash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29" name="Text Placeholder 424"/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 flipV="1">
            <a:off x="686902" y="4529454"/>
            <a:ext cx="152400" cy="24130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BF2F2328-7B50-4920-845B-F51DEB118711}" type="datetime'''''''''''C''''''''''+''''+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C++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230" name="Text Placeholder 433"/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 flipV="1">
            <a:off x="1229827" y="4529454"/>
            <a:ext cx="152400" cy="9207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7DA1F468-0E4B-497E-B65C-AA0820D4929F}" type="datetime'''''''''''C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C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32" name="Text Placeholder 426"/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 flipV="1">
            <a:off x="1048852" y="4529454"/>
            <a:ext cx="152400" cy="39211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F33B7E99-1291-41E2-B440-251949C81FBF}" type="datetime'''''''Py''''''th''''''''''''''o''''''''''''''n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Python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233" name="Text Placeholder 440"/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 flipV="1">
            <a:off x="2506177" y="4529454"/>
            <a:ext cx="152400" cy="26035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FFCC3F8F-CAA8-450F-A75D-03CB1C027B78}" type="datetime'''''''''''''''''''''''''C''''''''''''S''''''''''''''''S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CSS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34" name="Text Placeholder 439"/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 flipV="1">
            <a:off x="2325202" y="4529454"/>
            <a:ext cx="152400" cy="16192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1F57CFBD-ECEC-4F29-855A-A981A748B5C2}" type="datetime'C''''''''''''''''''''#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C#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35" name="Text Placeholder 434"/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 flipV="1">
            <a:off x="1410802" y="4529454"/>
            <a:ext cx="152400" cy="56991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3D80B00F-2309-4FFE-A4A2-401830A176B1}" type="datetime'J''ava''''''''s''cr''ip''''''''t''''''''''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Javascript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36" name="Text Placeholder 435"/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 flipV="1">
            <a:off x="1591777" y="4529454"/>
            <a:ext cx="152400" cy="36512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6798651C-39C3-4426-9FB1-8B5F29D000E6}" type="datetime'''''''E''''''''''''''''''r''''l''''''an''''''''''''''g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Erlang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38" name="Text Placeholder 425"/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 flipV="1">
            <a:off x="867877" y="4529454"/>
            <a:ext cx="152400" cy="26670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07FF1D2E-6AB1-485B-BD5C-3D607951CFAB}" type="datetime'''''''''J''a''v''''''a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Java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239" name="Text Placeholder 916"/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 flipV="1">
            <a:off x="3592027" y="4529454"/>
            <a:ext cx="152400" cy="51117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C21C00C3-396A-4510-BFE1-107B49029994}" type="datetime'''''''S''''''QL'''' / P''''L''''''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SQL / PL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CiscoSansTT Light"/>
            </a:endParaRPr>
          </a:p>
        </p:txBody>
      </p:sp>
      <p:sp>
        <p:nvSpPr>
          <p:cNvPr id="240" name="Text Placeholder 917"/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 flipV="1">
            <a:off x="3773002" y="4529454"/>
            <a:ext cx="152400" cy="338137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B06DCF0F-7E81-4FF7-B4F3-9723C3D036C3}" type="datetime'''V''''''''''''''''''''''''''''''''H''''D''''''''L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VHDL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CiscoSansTT Light"/>
            </a:endParaRPr>
          </a:p>
        </p:txBody>
      </p:sp>
      <p:sp>
        <p:nvSpPr>
          <p:cNvPr id="241" name="Text Placeholder 915"/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 flipV="1">
            <a:off x="3411052" y="4529454"/>
            <a:ext cx="152400" cy="29527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Tx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85DA88F5-0F9D-4DAA-AA91-3606F02E7681}" type="datetime'''''P''''''''''''''''''''''''''''e''''''''''ar''l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Pearl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CiscoSansTT Light"/>
            </a:endParaRPr>
          </a:p>
        </p:txBody>
      </p:sp>
      <p:sp>
        <p:nvSpPr>
          <p:cNvPr id="242" name="Text Placeholder 508"/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 flipV="1">
            <a:off x="3230077" y="4529454"/>
            <a:ext cx="152400" cy="661987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429C6659-CC2E-4C32-AAB2-0D8B8C4B7677}" type="datetime'''O''''b''''j''''''''''''e''''''ct''''i''''''''''v''e-''''C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Objective-C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CiscoSansTT Light"/>
            </a:endParaRPr>
          </a:p>
        </p:txBody>
      </p:sp>
      <p:sp>
        <p:nvSpPr>
          <p:cNvPr id="243" name="Text Placeholder 507"/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 flipV="1">
            <a:off x="3049102" y="4529454"/>
            <a:ext cx="152400" cy="38576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F3331021-8AF0-455E-8F1A-C4334605D93F}" type="datetime'''''''''Mo''''n''''''''''''go''''''''''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Mongo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CiscoSansTT Light"/>
            </a:endParaRPr>
          </a:p>
        </p:txBody>
      </p:sp>
      <p:sp>
        <p:nvSpPr>
          <p:cNvPr id="244" name="Text Placeholder 506"/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 flipV="1">
            <a:off x="2868127" y="4529454"/>
            <a:ext cx="152400" cy="58420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A83478B2-304A-4A61-B6E1-4015F4633DC4}" type="datetime'''M''i''''c''''''ro''''c''''o''de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Microcode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CiscoSansTT Light"/>
            </a:endParaRPr>
          </a:p>
        </p:txBody>
      </p:sp>
      <p:sp>
        <p:nvSpPr>
          <p:cNvPr id="245" name="Text Placeholder 505"/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 flipV="1">
            <a:off x="2687152" y="4529454"/>
            <a:ext cx="152400" cy="41592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5C7AC5A2-B7AB-4D57-8D23-AF6A9CFD4DB0}" type="datetime'''''''''''''''H''''''T''''''M''L''''''''''''''5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HTML5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CiscoSansTT Light"/>
            </a:endParaRPr>
          </a:p>
        </p:txBody>
      </p:sp>
      <p:sp>
        <p:nvSpPr>
          <p:cNvPr id="246" name="Text Placeholder 460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366227" y="3213416"/>
            <a:ext cx="1692275" cy="182562"/>
          </a:xfrm>
          <a:prstGeom prst="rect">
            <a:avLst/>
          </a:prstGeom>
          <a:noFill/>
          <a:effectLst/>
        </p:spPr>
        <p:txBody>
          <a:bodyPr wrap="none" lIns="0" tIns="0" rIns="0" bIns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-25000" noProof="0" dirty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  <a:sym typeface="+mn-lt"/>
              </a:rPr>
              <a:t>% of infrastructure teams</a:t>
            </a:r>
            <a:endParaRPr kumimoji="0" lang="en-US" sz="12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graphicFrame>
        <p:nvGraphicFramePr>
          <p:cNvPr id="4" name="Object 246"/>
          <p:cNvGraphicFramePr>
            <a:graphicFrameLocks noChangeAspect="1"/>
          </p:cNvGraphicFramePr>
          <p:nvPr>
            <p:custDataLst>
              <p:tags r:id="rId83"/>
            </p:custDataLst>
            <p:extLst>
              <p:ext uri="{D42A27DB-BD31-4B8C-83A1-F6EECF244321}">
                <p14:modId xmlns:p14="http://schemas.microsoft.com/office/powerpoint/2010/main" val="3218005984"/>
              </p:ext>
            </p:extLst>
          </p:nvPr>
        </p:nvGraphicFramePr>
        <p:xfrm>
          <a:off x="4995377" y="3510279"/>
          <a:ext cx="3422650" cy="993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4"/>
          </a:graphicData>
        </a:graphic>
      </p:graphicFrame>
      <p:sp>
        <p:nvSpPr>
          <p:cNvPr id="248" name="Text Placeholder 529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4865202" y="3916679"/>
            <a:ext cx="13970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A6D6994E-EAA5-4377-A318-F1EFC39D6A8F}" type="datetime'''''5''''''''''''''''''''''''''''''''0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50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249" name="Text Placeholder 417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4935052" y="4335779"/>
            <a:ext cx="6985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F790D86C-D34F-464E-8321-3DAABF42BA80}" type="datetime'''''''''''''''0''''''''''''''''''''''''''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250" name="Text Placeholder 530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4795352" y="3497579"/>
            <a:ext cx="209550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B66562CD-F795-4716-93B4-77405C8489B1}" type="datetime'''''''''''''''''''''''''''''''''1''''''''''''00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100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cxnSp>
        <p:nvCxnSpPr>
          <p:cNvPr id="251" name="Straight Connector 250"/>
          <p:cNvCxnSpPr/>
          <p:nvPr>
            <p:custDataLst>
              <p:tags r:id="rId87"/>
            </p:custDataLst>
          </p:nvPr>
        </p:nvCxnSpPr>
        <p:spPr bwMode="gray">
          <a:xfrm>
            <a:off x="7044839" y="4329429"/>
            <a:ext cx="0" cy="53975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252" name="Straight Connector 251"/>
          <p:cNvCxnSpPr/>
          <p:nvPr>
            <p:custDataLst>
              <p:tags r:id="rId88"/>
            </p:custDataLst>
          </p:nvPr>
        </p:nvCxnSpPr>
        <p:spPr bwMode="gray">
          <a:xfrm>
            <a:off x="6230452" y="4243704"/>
            <a:ext cx="0" cy="96837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253" name="Straight Connector 252"/>
          <p:cNvCxnSpPr/>
          <p:nvPr>
            <p:custDataLst>
              <p:tags r:id="rId89"/>
            </p:custDataLst>
          </p:nvPr>
        </p:nvCxnSpPr>
        <p:spPr bwMode="gray">
          <a:xfrm>
            <a:off x="6844814" y="4329429"/>
            <a:ext cx="0" cy="53975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254" name="Straight Connector 253"/>
          <p:cNvCxnSpPr/>
          <p:nvPr>
            <p:custDataLst>
              <p:tags r:id="rId90"/>
            </p:custDataLst>
          </p:nvPr>
        </p:nvCxnSpPr>
        <p:spPr bwMode="gray">
          <a:xfrm>
            <a:off x="6640027" y="4272279"/>
            <a:ext cx="0" cy="8255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255" name="Straight Connector 254"/>
          <p:cNvCxnSpPr/>
          <p:nvPr>
            <p:custDataLst>
              <p:tags r:id="rId91"/>
            </p:custDataLst>
          </p:nvPr>
        </p:nvCxnSpPr>
        <p:spPr bwMode="gray">
          <a:xfrm>
            <a:off x="6435239" y="4272279"/>
            <a:ext cx="0" cy="8255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sp>
        <p:nvSpPr>
          <p:cNvPr id="256" name="Text Placeholder 478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 flipV="1">
            <a:off x="7378214" y="4529454"/>
            <a:ext cx="152400" cy="38576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56D5AD58-2A94-4B44-BF65-BB2A056E288C}" type="datetime'''''''''''''''''''''''M''''''''''o''''''ng''o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Mongo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57" name="Text Placeholder 440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 flipV="1">
            <a:off x="7173427" y="4529453"/>
            <a:ext cx="152400" cy="30956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121245E0-E92C-46CB-99EA-28894CA2C1FA}" type="datetime'''''F''''la''s''''''''''''''''''''''''''''''''''''''''''h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Flash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58" name="Text Placeholder 479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 flipV="1">
            <a:off x="7583002" y="4529454"/>
            <a:ext cx="152400" cy="29527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EC732C2C-FAE2-4474-BC07-1C35061B12E9}" type="datetime'P''''e''''''''a''''''''''''rl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Pearl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59" name="Text Placeholder 481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 flipV="1">
            <a:off x="7992577" y="4529454"/>
            <a:ext cx="152400" cy="31591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AE524B23-C355-4C58-984D-14FE36D2219E}" type="datetime'''''''''''''''''''''''''S''''''''c''''''''''''''a''''la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Scala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60" name="Text Placeholder 480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 flipV="1">
            <a:off x="7787789" y="4529454"/>
            <a:ext cx="152400" cy="22542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9F290F7A-538C-4DD4-9BA1-F8759F284124}" type="datetime'P''''''''''e''''''''''''r''''''''''l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Perl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61" name="Text Placeholder 460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4795352" y="3213416"/>
            <a:ext cx="1166812" cy="182562"/>
          </a:xfrm>
          <a:prstGeom prst="rect">
            <a:avLst/>
          </a:prstGeom>
          <a:noFill/>
          <a:effectLst/>
        </p:spPr>
        <p:txBody>
          <a:bodyPr wrap="none" lIns="0" tIns="0" rIns="0" bIns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-25000" noProof="0" dirty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  <a:sym typeface="+mn-lt"/>
              </a:rPr>
              <a:t>% of cloud teams</a:t>
            </a:r>
            <a:endParaRPr kumimoji="0" lang="en-US" sz="12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262" name="Text Placeholder 48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 flipV="1">
            <a:off x="8197364" y="4529454"/>
            <a:ext cx="152400" cy="280987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075BBD54-EDE0-4A0A-8C5D-427404FBFB7A}" type="datetime'''''''''S''''''''''''h''''e''''''''l''''l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Shell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63" name="Text Placeholder 439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 flipV="1">
            <a:off x="6968639" y="4529454"/>
            <a:ext cx="152400" cy="51117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24D3D288-C34B-4DC2-BE5A-50787AA93DF5}" type="datetime'''''''SQ''''''''''''''''''''L'''''' / ''''''''P''''''L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SQL / PL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64" name="Text Placeholder 435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 flipV="1">
            <a:off x="6154252" y="4529454"/>
            <a:ext cx="152400" cy="71120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C25F8B16-C30B-48BE-AE4D-1D9663685ABB}" type="datetime'''''H''''T''''ML ''''/'''' ''C''''''''''''''''''''''S''S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HTML / CSS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65" name="Text Placeholder 436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 flipV="1">
            <a:off x="6359039" y="4529455"/>
            <a:ext cx="152400" cy="16192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4D9830ED-3441-47AB-AA2B-932FB2EB62EB}" type="datetime'''''''''''''''''''''''''''''''''''''''''''''''''''C''''''#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C#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66" name="Text Placeholder 437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 flipV="1">
            <a:off x="6563827" y="4529453"/>
            <a:ext cx="152400" cy="26035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6667D251-065A-459A-B688-8D08DEDE9155}" type="datetime'''''''''''''''''''''''C''''''''''S''''S''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CSS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67" name="Text Placeholder 438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 flipV="1">
            <a:off x="6768614" y="4529454"/>
            <a:ext cx="152400" cy="41592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9267B7C1-FA46-411D-A4DD-B8C4733CE1D8}" type="datetime'H''T''M''L''''''''''''''''''''''''''''''''''''''''''5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HTML5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68" name="Text Placeholder 434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 flipV="1">
            <a:off x="5949464" y="4529454"/>
            <a:ext cx="152400" cy="92075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396DF9EF-0404-43A3-9E0A-D38BAE0F79E7}" type="datetime'''''''''''''''C''''''''''''''''''''''''''''''''''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C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70" name="Text Placeholder 433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 flipV="1">
            <a:off x="5744677" y="4529454"/>
            <a:ext cx="152400" cy="56991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8E51B820-C3CE-4242-A789-7FA010CD5D6D}" type="datetime'J''''''a''''''v''''''as''cr''i''''''p''''''''''''''''t''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Javascript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Arial"/>
            </a:endParaRPr>
          </a:p>
        </p:txBody>
      </p:sp>
      <p:sp>
        <p:nvSpPr>
          <p:cNvPr id="272" name="Text Placeholder 426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 flipV="1">
            <a:off x="5539889" y="4529454"/>
            <a:ext cx="152400" cy="392112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F26B4BE2-D0B8-4A93-9920-C7E6CE9E7947}" type="datetime'''''''''''''Py''t''''''''''''''''''''h''''''''''''''o''n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Python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274" name="Text Placeholder 425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 flipV="1">
            <a:off x="5335102" y="4529454"/>
            <a:ext cx="152400" cy="24130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CCAFBB59-868A-4DF5-B676-D551E4DB7D61}" type="datetime'''''''''C''''''''''''''''''''''''''''+''''''''''''''''''+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C++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276" name="Text Placeholder 424"/>
          <p:cNvSpPr>
            <a:spLocks noGrp="1"/>
          </p:cNvSpPr>
          <p:nvPr>
            <p:custDataLst>
              <p:tags r:id="rId108"/>
            </p:custDataLst>
          </p:nvPr>
        </p:nvSpPr>
        <p:spPr bwMode="gray">
          <a:xfrm flipV="1">
            <a:off x="5130314" y="4529454"/>
            <a:ext cx="152400" cy="266700"/>
          </a:xfrm>
          <a:prstGeom prst="rect">
            <a:avLst/>
          </a:prstGeom>
          <a:noFill/>
          <a:effectLst/>
        </p:spPr>
        <p:txBody>
          <a:bodyPr vert="eaVert"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BF"/>
              </a:buClr>
              <a:buSzTx/>
              <a:buFontTx/>
              <a:buNone/>
              <a:tabLst/>
              <a:defRPr/>
            </a:pPr>
            <a:fld id="{4B8C72E7-0962-4131-AD79-214C16E8BEAA}" type="datetime'''''J''''''av''''''''''''''a'''''">
              <a:rPr kumimoji="0" lang="en-US" sz="1000" b="0" i="0" u="none" strike="noStrike" kern="1200" cap="none" spc="0" normalizeH="0" baseline="-25000" noProof="0" smtClean="0">
                <a:ln>
                  <a:noFill/>
                </a:ln>
                <a:solidFill>
                  <a:srgbClr val="272848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A2BF"/>
                </a:buClr>
                <a:buSzTx/>
                <a:buFontTx/>
                <a:buNone/>
                <a:tabLst/>
                <a:defRPr/>
              </a:pPr>
              <a:t>Java</a:t>
            </a:fld>
            <a:endParaRPr kumimoji="0" lang="en-US" sz="1000" b="0" i="0" u="none" strike="noStrike" kern="1200" cap="none" spc="0" normalizeH="0" baseline="-25000" noProof="0" dirty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  <a:sym typeface="+mn-lt"/>
            </a:endParaRPr>
          </a:p>
        </p:txBody>
      </p:sp>
      <p:sp>
        <p:nvSpPr>
          <p:cNvPr id="282" name="Rectangle 281"/>
          <p:cNvSpPr/>
          <p:nvPr/>
        </p:nvSpPr>
        <p:spPr>
          <a:xfrm>
            <a:off x="601177" y="3903979"/>
            <a:ext cx="789214" cy="1308100"/>
          </a:xfrm>
          <a:prstGeom prst="rect">
            <a:avLst/>
          </a:prstGeom>
          <a:noFill/>
          <a:ln w="9525" cap="flat" cmpd="sng" algn="ctr">
            <a:solidFill>
              <a:srgbClr val="F58025"/>
            </a:solidFill>
            <a:prstDash val="dash"/>
          </a:ln>
          <a:effectLst/>
        </p:spPr>
        <p:txBody>
          <a:bodyPr tIns="9000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-25000" noProof="0" dirty="0" smtClean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sp>
        <p:nvSpPr>
          <p:cNvPr id="283" name="Rectangle 282"/>
          <p:cNvSpPr/>
          <p:nvPr/>
        </p:nvSpPr>
        <p:spPr>
          <a:xfrm>
            <a:off x="596414" y="1197173"/>
            <a:ext cx="261257" cy="1308100"/>
          </a:xfrm>
          <a:prstGeom prst="rect">
            <a:avLst/>
          </a:prstGeom>
          <a:noFill/>
          <a:ln w="9525" cap="flat" cmpd="sng" algn="ctr">
            <a:solidFill>
              <a:srgbClr val="F58025"/>
            </a:solidFill>
            <a:prstDash val="dash"/>
          </a:ln>
          <a:effectLst/>
        </p:spPr>
        <p:txBody>
          <a:bodyPr tIns="9000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-25000" noProof="0" dirty="0" smtClean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sp>
        <p:nvSpPr>
          <p:cNvPr id="284" name="Rectangle 283"/>
          <p:cNvSpPr/>
          <p:nvPr/>
        </p:nvSpPr>
        <p:spPr>
          <a:xfrm>
            <a:off x="5054114" y="1171773"/>
            <a:ext cx="355600" cy="1308100"/>
          </a:xfrm>
          <a:prstGeom prst="rect">
            <a:avLst/>
          </a:prstGeom>
          <a:noFill/>
          <a:ln w="9525" cap="flat" cmpd="sng" algn="ctr">
            <a:solidFill>
              <a:srgbClr val="F58025"/>
            </a:solidFill>
            <a:prstDash val="dash"/>
          </a:ln>
          <a:effectLst/>
        </p:spPr>
        <p:txBody>
          <a:bodyPr tIns="9000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-25000" noProof="0" dirty="0" smtClean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sp>
        <p:nvSpPr>
          <p:cNvPr id="285" name="Rectangle 284"/>
          <p:cNvSpPr/>
          <p:nvPr/>
        </p:nvSpPr>
        <p:spPr>
          <a:xfrm>
            <a:off x="5096977" y="3789679"/>
            <a:ext cx="419100" cy="1308100"/>
          </a:xfrm>
          <a:prstGeom prst="rect">
            <a:avLst/>
          </a:prstGeom>
          <a:noFill/>
          <a:ln w="9525" cap="flat" cmpd="sng" algn="ctr">
            <a:solidFill>
              <a:srgbClr val="F58025"/>
            </a:solidFill>
            <a:prstDash val="dash"/>
          </a:ln>
          <a:effectLst/>
        </p:spPr>
        <p:txBody>
          <a:bodyPr tIns="9000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-25000" noProof="0" dirty="0" smtClean="0">
              <a:ln>
                <a:noFill/>
              </a:ln>
              <a:solidFill>
                <a:srgbClr val="272848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sp>
        <p:nvSpPr>
          <p:cNvPr id="289" name="BCG_FootNote_Box"/>
          <p:cNvSpPr txBox="1">
            <a:spLocks noChangeArrowheads="1"/>
          </p:cNvSpPr>
          <p:nvPr/>
        </p:nvSpPr>
        <p:spPr bwMode="auto">
          <a:xfrm>
            <a:off x="186546" y="5088038"/>
            <a:ext cx="8685061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marR="0" lvl="0" indent="0" defTabSz="9144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-25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ource: Baselining survey (Dec 2013-Jan 2014)</a:t>
            </a:r>
          </a:p>
        </p:txBody>
      </p:sp>
    </p:spTree>
    <p:extLst>
      <p:ext uri="{BB962C8B-B14F-4D97-AF65-F5344CB8AC3E}">
        <p14:creationId xmlns:p14="http://schemas.microsoft.com/office/powerpoint/2010/main" val="3837545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8MXMo5jEam69vlszfft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ib_BBgxUykqSNL_fRTy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8u1xFnoE.RSEaePmIqU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EIJGF63ke.vmayXA8s.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b4uMM10keKj4RxCXuzi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59UDw__kmyawDM.AMXF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9FBbI31E.EeXot9hpqs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GOPbVkwkasVII5TOmtj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dOhc_gmUCdF1U5Dl.my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PdTK1jKUGArgWF08bG.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9ElNn2KUmryZYULKNs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qljKBSx06MfqhksbGAz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2oQihxnkWXgAVAzTaSv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5beAYsmESwmKynJkKYG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D9HtGVMUWNktchl9AQI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R4OGcFdEuBmN_8VNXtC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MkYPQDi0WkCuD5tx4qS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Hmv6rizUC7f2epg_OE9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JukvCCaEi0WaC4ZqIkw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Z5tWEkZ0KqfZNbxIwi4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zzgpgusUeLeBtd8xVJr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56.Sog5k23sJTfXWW4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6S6vdcNUuMPGhyy3Qqm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bqA7Oxo02_Q0vQMVtd4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jXGDw21E.jq2SBEPOO6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xlWXNZ1UWT_cXlMsTL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39ocWynUGcSAAqimfB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67hLUu.EOkEuHo7Nes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jVYUSee0GMUoJtyULeF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tE0NrTCEyBnneqi5s4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0mIiL0y0irvzSo5oae2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tUASDvE0CgIgpZPjNc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BvZ9W3t02gY6jD8df2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aTFYxqCk.m5KMaARR8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DfEKkwUCu.U1tCKVq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N5MO1aaUC0LZ9.jjYh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EyS05Kt02Re1zxDr6bx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Y..ZqWGE6h69V4aTrN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5xeUorkUyYFPpTcPgH3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33HcCPxkmCyPBzRHQt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uc6kwnKUWMcd3u44OwC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PPS1P4REmVFqwoKSdF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9t06BfuEKGQkOhvoN32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xN6X2YgEudy78CQgEn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0vsfHoNkSV.3kQmZlPh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aOxYkCpkOzPltO9xzh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jp00_VjEKbczr.vgYMZ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5I5ZzZeEmXsJ8LWSh2s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Isk5AfMkKuaz4UatGNz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4_KNtefka3E1cUXlQGM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BxdWJPEkK2kqWwlDLh7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KwvJ2nEGp8r.KZd3x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M3VUTuVUa4Hz9ed1Dwg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2V_nvFmkq9RQou9QKN0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zBYkgJAkWqg9_9bcWi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X.C1_bNEWBq6AZ4tXbJ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m25MH6XUaU9pPJNsWzF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0oWL.VtkW0nVOQJaGac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00B1sBFkeThAeS05YK4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j5FkwxbEmKBNPmQxl3o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VdEJozTkmxRVUPnYlj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FBab6uuEWIGgLYeJxiz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0HdBUj20m7fKiV82Gg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gGqajqDUGGOgwnBGfo0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UWrJRFe0iyMmOCDTfR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FadVv..UyKckGz74Jt2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Ck5fJDMk.64rU009xN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.ufg7cuUa02IT2EXLzx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qZI7ZsmkqLMY36r9jr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NCbUaADkOVlnh.ZW3ob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.wWYenH0WgEkaCTSK5G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uhtrjz0kCb..znppi0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zYYM7dECpmAbv.EZGQ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VU10jgpk6HUt56mqYIG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VU3pQ2h0Kx8QRFDi3.h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UWVY5LUKyUS6IdPsuC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FE2us60EyUlHhgiVsPB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c86iXQw0itGEzTmBTdJ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sLZhauYkS9BDQdLGW2S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Le09FZcEKYDrhUSgR4_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fLT9z5Wkm4fDq37xMkk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uGdTsh2kGyqtxmkt54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KGm84z.067BAqP9tgE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7odqD8Y0WDSkKOjpeu0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TXpWBDz0a_Os9dl_anl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nX8RGb0EKndPjQFvpHp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aqwSN840igm1m7k9Wr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2hUUBnhEmrmiHPRxB57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8X4KsWLUSVGyCHUXGti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p4HsyYBEmYBZNnKdqTJ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1iU4ss6Uas0_fO46pDy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q3K6xiGEmAOeO6yXYOB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TUdLONJ0WYytIs2z_fW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ynkDpSCkOKuuYrWXBs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7JwfqeNkKKsSBMfwsAO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L.VnkgD02uNnADJJ1cW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H.lUguFEG5gjsPzzdyJ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cXySMFZEOJuS4s7x0.L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EZR3j54kinBU6GXoeRK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Y6TspF40u8oQzDj9_Y5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2.il4ivkCNALYR59_.c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Mn.ZeIEEGIvQ6OHaAng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LG62ZrUEa7oYeTLff8U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Lh1ILjskW11ankiHADP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exMMXAHEK_3.3K3yEC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si3zQOjEatTAZXLXieH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6mNijw2U.mieeIBnjAf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e97sZ0UUWLTC7O4X_ZO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dBdVhpGESp.qRsTmys7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29zvDTYUGUyl3VjSQlr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.5BGMWW0qXHTmyhqYah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Dbtm9nrkGgFPLM2XHaN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p.1eDn9kmJx4O3B3orO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UwTyaa0kKoLVedlpQzS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Hj.YUG1UC.UhtI9x9CR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7rsg.gw0iVK51SB08ZaQ"/>
</p:tagLst>
</file>

<file path=ppt/theme/theme1.xml><?xml version="1.0" encoding="utf-8"?>
<a:theme xmlns:a="http://schemas.openxmlformats.org/drawingml/2006/main" name="Talent-Management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7_16x9_Warm_Template_Version_0.15">
  <a:themeElements>
    <a:clrScheme name="Cisco Warm Palette 2013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A8A8B6"/>
      </a:accent3>
      <a:accent4>
        <a:srgbClr val="E64E25"/>
      </a:accent4>
      <a:accent5>
        <a:srgbClr val="C0353A"/>
      </a:accent5>
      <a:accent6>
        <a:srgbClr val="582D42"/>
      </a:accent6>
      <a:hlink>
        <a:srgbClr val="C0353A"/>
      </a:hlink>
      <a:folHlink>
        <a:srgbClr val="E64E25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16x9_Cool_Template_Version_0.15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1_Talent-Management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Default Theme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1_Default Theme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2_Default Theme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7.xml><?xml version="1.0" encoding="utf-8"?>
<a:theme xmlns:a="http://schemas.openxmlformats.org/drawingml/2006/main" name="Cisco_Template_2010_Arial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1_Cisco_Template_2010_Arial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blank">
  <a:themeElements>
    <a:clrScheme name="Custom 11">
      <a:dk1>
        <a:srgbClr val="272848"/>
      </a:dk1>
      <a:lt1>
        <a:srgbClr val="FFFFFF"/>
      </a:lt1>
      <a:dk2>
        <a:srgbClr val="00A2BF"/>
      </a:dk2>
      <a:lt2>
        <a:srgbClr val="808080"/>
      </a:lt2>
      <a:accent1>
        <a:srgbClr val="E2E2E2"/>
      </a:accent1>
      <a:accent2>
        <a:srgbClr val="8BD3C7"/>
      </a:accent2>
      <a:accent3>
        <a:srgbClr val="B2B2B2"/>
      </a:accent3>
      <a:accent4>
        <a:srgbClr val="4D4D4D"/>
      </a:accent4>
      <a:accent5>
        <a:srgbClr val="D3D3DA"/>
      </a:accent5>
      <a:accent6>
        <a:srgbClr val="52526D"/>
      </a:accent6>
      <a:hlink>
        <a:srgbClr val="33828D"/>
      </a:hlink>
      <a:folHlink>
        <a:srgbClr val="3CBBB9"/>
      </a:folHlink>
    </a:clrScheme>
    <a:fontScheme name="Custom 3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 algn="ctr">
          <a:defRPr sz="1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45720" tIns="45720" rIns="45720" bIns="45720" rtlCol="0">
        <a:spAutoFit/>
      </a:bodyPr>
      <a:lstStyle>
        <a:defPPr>
          <a:defRPr sz="10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75</TotalTime>
  <Words>680</Words>
  <Application>Microsoft Macintosh PowerPoint</Application>
  <PresentationFormat>On-screen Show (16:9)</PresentationFormat>
  <Paragraphs>260</Paragraphs>
  <Slides>28</Slides>
  <Notes>28</Notes>
  <HiddenSlides>0</HiddenSlides>
  <MMClips>0</MMClips>
  <ScaleCrop>false</ScaleCrop>
  <HeadingPairs>
    <vt:vector size="6" baseType="variant"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9" baseType="lpstr">
      <vt:lpstr>Talent-Management</vt:lpstr>
      <vt:lpstr>2_16x9_Cool_Template_Version_0.15</vt:lpstr>
      <vt:lpstr>1_Talent-Management</vt:lpstr>
      <vt:lpstr>Default Theme</vt:lpstr>
      <vt:lpstr>1_Default Theme</vt:lpstr>
      <vt:lpstr>2_Default Theme</vt:lpstr>
      <vt:lpstr>Cisco_Template_2010_Arial</vt:lpstr>
      <vt:lpstr>1_Cisco_Template_2010_Arial</vt:lpstr>
      <vt:lpstr>blank</vt:lpstr>
      <vt:lpstr>7_16x9_Warm_Template_Version_0.15</vt:lpstr>
      <vt:lpstr>think-cell Slide</vt:lpstr>
      <vt:lpstr>DevOps:  Interpretations from Cisco</vt:lpstr>
      <vt:lpstr>PowerPoint Presentation</vt:lpstr>
      <vt:lpstr>PowerPoint Presentation</vt:lpstr>
      <vt:lpstr>75,049</vt:lpstr>
      <vt:lpstr>PowerPoint Presentation</vt:lpstr>
      <vt:lpstr>PowerPoint Presentation</vt:lpstr>
      <vt:lpstr>1984</vt:lpstr>
      <vt:lpstr>PowerPoint Presentation</vt:lpstr>
      <vt:lpstr>PowerPoint Presentation</vt:lpstr>
      <vt:lpstr>PowerPoint Presentation</vt:lpstr>
      <vt:lpstr>DevOps Principles  </vt:lpstr>
      <vt:lpstr>First Way- Systems Thinking</vt:lpstr>
      <vt:lpstr>DevOps ! = Continuous Delivery</vt:lpstr>
      <vt:lpstr>Transformation from the top</vt:lpstr>
      <vt:lpstr>PowerPoint Presentation</vt:lpstr>
      <vt:lpstr>PowerPoint Presentation</vt:lpstr>
      <vt:lpstr>Case Study Example-Cisco Unified Contact Center Enterprise</vt:lpstr>
      <vt:lpstr>Results …</vt:lpstr>
      <vt:lpstr>Second Way- Amplify Feedback Loops</vt:lpstr>
      <vt:lpstr>Focus on two feedback loops</vt:lpstr>
      <vt:lpstr>PowerPoint Presentation</vt:lpstr>
      <vt:lpstr>PowerPoint Presentation</vt:lpstr>
      <vt:lpstr>PowerPoint Presentation</vt:lpstr>
      <vt:lpstr>Third Way- Culture of continuous experimentation and learning</vt:lpstr>
      <vt:lpstr>Playbook – Baseline practices at Cisco</vt:lpstr>
      <vt:lpstr>PowerPoint Presentation</vt:lpstr>
      <vt:lpstr>PowerPoint Presentation</vt:lpstr>
      <vt:lpstr>Help!</vt:lpstr>
    </vt:vector>
  </TitlesOfParts>
  <Company>Cisc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ssica Lin</dc:creator>
  <cp:lastModifiedBy>Ramya Ravichandar</cp:lastModifiedBy>
  <cp:revision>392</cp:revision>
  <cp:lastPrinted>2014-10-13T20:57:50Z</cp:lastPrinted>
  <dcterms:created xsi:type="dcterms:W3CDTF">2014-01-29T00:21:24Z</dcterms:created>
  <dcterms:modified xsi:type="dcterms:W3CDTF">2014-10-23T17:25:53Z</dcterms:modified>
</cp:coreProperties>
</file>